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8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62E7CC-DCFF-3D1F-D64B-11B8215DA3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54789AB-0260-FEA5-481E-91A59D78C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8EF163A-E535-DA3B-0166-E0F1230242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ote</a:t>
            </a:r>
          </a:p>
        </p:txBody>
      </p:sp>
      <p:sp>
        <p:nvSpPr>
          <p:cNvPr id="2" name="Rectangle: Single Corner Rounded 1">
            <a:extLst>
              <a:ext uri="{FF2B5EF4-FFF2-40B4-BE49-F238E27FC236}">
                <a16:creationId xmlns:a16="http://schemas.microsoft.com/office/drawing/2014/main" id="{1A885FAE-DA42-9B8D-8C57-C642B0242010}"/>
              </a:ext>
            </a:extLst>
          </p:cNvPr>
          <p:cNvSpPr>
            <a:spLocks/>
          </p:cNvSpPr>
          <p:nvPr/>
        </p:nvSpPr>
        <p:spPr>
          <a:xfrm flipV="1">
            <a:off x="6122601" y="3808700"/>
            <a:ext cx="5493455" cy="2314681"/>
          </a:xfrm>
          <a:prstGeom prst="round1Rect">
            <a:avLst>
              <a:gd name="adj" fmla="val 13375"/>
            </a:avLst>
          </a:prstGeom>
          <a:solidFill>
            <a:schemeClr val="bg1"/>
          </a:solidFill>
          <a:ln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400"/>
          </a:p>
        </p:txBody>
      </p:sp>
      <p:sp>
        <p:nvSpPr>
          <p:cNvPr id="5" name="Rectangle: Single Corner Rounded 4">
            <a:extLst>
              <a:ext uri="{FF2B5EF4-FFF2-40B4-BE49-F238E27FC236}">
                <a16:creationId xmlns:a16="http://schemas.microsoft.com/office/drawing/2014/main" id="{50C1DD36-A101-DC05-8197-ABD8DDBAE7DE}"/>
              </a:ext>
            </a:extLst>
          </p:cNvPr>
          <p:cNvSpPr>
            <a:spLocks/>
          </p:cNvSpPr>
          <p:nvPr/>
        </p:nvSpPr>
        <p:spPr>
          <a:xfrm flipH="1" flipV="1">
            <a:off x="564571" y="3808699"/>
            <a:ext cx="5493455" cy="2314681"/>
          </a:xfrm>
          <a:prstGeom prst="round1Rect">
            <a:avLst>
              <a:gd name="adj" fmla="val 13375"/>
            </a:avLst>
          </a:prstGeom>
          <a:solidFill>
            <a:schemeClr val="bg1"/>
          </a:solidFill>
          <a:ln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400"/>
          </a:p>
        </p:txBody>
      </p:sp>
      <p:sp>
        <p:nvSpPr>
          <p:cNvPr id="6" name="Rectangle: Single Corner Rounded 5">
            <a:extLst>
              <a:ext uri="{FF2B5EF4-FFF2-40B4-BE49-F238E27FC236}">
                <a16:creationId xmlns:a16="http://schemas.microsoft.com/office/drawing/2014/main" id="{44F46239-048E-FE35-5929-3A91D4AF41DE}"/>
              </a:ext>
            </a:extLst>
          </p:cNvPr>
          <p:cNvSpPr>
            <a:spLocks/>
          </p:cNvSpPr>
          <p:nvPr/>
        </p:nvSpPr>
        <p:spPr>
          <a:xfrm>
            <a:off x="6122601" y="1396448"/>
            <a:ext cx="5493455" cy="2314681"/>
          </a:xfrm>
          <a:prstGeom prst="round1Rect">
            <a:avLst>
              <a:gd name="adj" fmla="val 13375"/>
            </a:avLst>
          </a:prstGeom>
          <a:solidFill>
            <a:schemeClr val="bg1"/>
          </a:solidFill>
          <a:ln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400"/>
          </a:p>
        </p:txBody>
      </p:sp>
      <p:sp>
        <p:nvSpPr>
          <p:cNvPr id="7" name="Rectangle: Single Corner Rounded 6">
            <a:extLst>
              <a:ext uri="{FF2B5EF4-FFF2-40B4-BE49-F238E27FC236}">
                <a16:creationId xmlns:a16="http://schemas.microsoft.com/office/drawing/2014/main" id="{0BC9CA86-B3E7-8F93-BE9A-AE11D0A4403F}"/>
              </a:ext>
            </a:extLst>
          </p:cNvPr>
          <p:cNvSpPr>
            <a:spLocks/>
          </p:cNvSpPr>
          <p:nvPr/>
        </p:nvSpPr>
        <p:spPr>
          <a:xfrm flipH="1">
            <a:off x="564571" y="1396448"/>
            <a:ext cx="5493455" cy="2314681"/>
          </a:xfrm>
          <a:prstGeom prst="round1Rect">
            <a:avLst>
              <a:gd name="adj" fmla="val 13375"/>
            </a:avLst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40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C3638B78-E4DA-2AC6-504F-D10F8AF0C339}"/>
              </a:ext>
            </a:extLst>
          </p:cNvPr>
          <p:cNvSpPr/>
          <p:nvPr/>
        </p:nvSpPr>
        <p:spPr>
          <a:xfrm>
            <a:off x="3980553" y="1716191"/>
            <a:ext cx="4087449" cy="4087449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400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ED929362-BD9D-5890-687E-08CACA75712B}"/>
              </a:ext>
            </a:extLst>
          </p:cNvPr>
          <p:cNvSpPr>
            <a:spLocks/>
          </p:cNvSpPr>
          <p:nvPr/>
        </p:nvSpPr>
        <p:spPr bwMode="auto">
          <a:xfrm rot="2700000">
            <a:off x="5771045" y="3202846"/>
            <a:ext cx="1857879" cy="2618204"/>
          </a:xfrm>
          <a:custGeom>
            <a:avLst/>
            <a:gdLst>
              <a:gd name="T0" fmla="*/ 3075 w 8332"/>
              <a:gd name="T1" fmla="*/ 2257 h 11740"/>
              <a:gd name="T2" fmla="*/ 3016 w 8332"/>
              <a:gd name="T3" fmla="*/ 2426 h 11740"/>
              <a:gd name="T4" fmla="*/ 3049 w 8332"/>
              <a:gd name="T5" fmla="*/ 2533 h 11740"/>
              <a:gd name="T6" fmla="*/ 3163 w 8332"/>
              <a:gd name="T7" fmla="*/ 2619 h 11740"/>
              <a:gd name="T8" fmla="*/ 3666 w 8332"/>
              <a:gd name="T9" fmla="*/ 2833 h 11740"/>
              <a:gd name="T10" fmla="*/ 3938 w 8332"/>
              <a:gd name="T11" fmla="*/ 2951 h 11740"/>
              <a:gd name="T12" fmla="*/ 4323 w 8332"/>
              <a:gd name="T13" fmla="*/ 3295 h 11740"/>
              <a:gd name="T14" fmla="*/ 4514 w 8332"/>
              <a:gd name="T15" fmla="*/ 3811 h 11740"/>
              <a:gd name="T16" fmla="*/ 4487 w 8332"/>
              <a:gd name="T17" fmla="*/ 4415 h 11740"/>
              <a:gd name="T18" fmla="*/ 4269 w 8332"/>
              <a:gd name="T19" fmla="*/ 4947 h 11740"/>
              <a:gd name="T20" fmla="*/ 3956 w 8332"/>
              <a:gd name="T21" fmla="*/ 5323 h 11740"/>
              <a:gd name="T22" fmla="*/ 3572 w 8332"/>
              <a:gd name="T23" fmla="*/ 5567 h 11740"/>
              <a:gd name="T24" fmla="*/ 3150 w 8332"/>
              <a:gd name="T25" fmla="*/ 5655 h 11740"/>
              <a:gd name="T26" fmla="*/ 2943 w 8332"/>
              <a:gd name="T27" fmla="*/ 5633 h 11740"/>
              <a:gd name="T28" fmla="*/ 2718 w 8332"/>
              <a:gd name="T29" fmla="*/ 5549 h 11740"/>
              <a:gd name="T30" fmla="*/ 2367 w 8332"/>
              <a:gd name="T31" fmla="*/ 5265 h 11740"/>
              <a:gd name="T32" fmla="*/ 1912 w 8332"/>
              <a:gd name="T33" fmla="*/ 4745 h 11740"/>
              <a:gd name="T34" fmla="*/ 1620 w 8332"/>
              <a:gd name="T35" fmla="*/ 4388 h 11740"/>
              <a:gd name="T36" fmla="*/ 1406 w 8332"/>
              <a:gd name="T37" fmla="*/ 4264 h 11740"/>
              <a:gd name="T38" fmla="*/ 1255 w 8332"/>
              <a:gd name="T39" fmla="*/ 4245 h 11740"/>
              <a:gd name="T40" fmla="*/ 1030 w 8332"/>
              <a:gd name="T41" fmla="*/ 4331 h 11740"/>
              <a:gd name="T42" fmla="*/ 719 w 8332"/>
              <a:gd name="T43" fmla="*/ 4693 h 11740"/>
              <a:gd name="T44" fmla="*/ 212 w 8332"/>
              <a:gd name="T45" fmla="*/ 5408 h 11740"/>
              <a:gd name="T46" fmla="*/ 421 w 8332"/>
              <a:gd name="T47" fmla="*/ 6009 h 11740"/>
              <a:gd name="T48" fmla="*/ 1150 w 8332"/>
              <a:gd name="T49" fmla="*/ 6532 h 11740"/>
              <a:gd name="T50" fmla="*/ 1450 w 8332"/>
              <a:gd name="T51" fmla="*/ 6786 h 11740"/>
              <a:gd name="T52" fmla="*/ 1585 w 8332"/>
              <a:gd name="T53" fmla="*/ 6979 h 11740"/>
              <a:gd name="T54" fmla="*/ 1661 w 8332"/>
              <a:gd name="T55" fmla="*/ 7190 h 11740"/>
              <a:gd name="T56" fmla="*/ 1674 w 8332"/>
              <a:gd name="T57" fmla="*/ 7417 h 11740"/>
              <a:gd name="T58" fmla="*/ 1617 w 8332"/>
              <a:gd name="T59" fmla="*/ 7657 h 11740"/>
              <a:gd name="T60" fmla="*/ 1489 w 8332"/>
              <a:gd name="T61" fmla="*/ 7882 h 11740"/>
              <a:gd name="T62" fmla="*/ 1294 w 8332"/>
              <a:gd name="T63" fmla="*/ 8085 h 11740"/>
              <a:gd name="T64" fmla="*/ 716 w 8332"/>
              <a:gd name="T65" fmla="*/ 8545 h 11740"/>
              <a:gd name="T66" fmla="*/ 352 w 8332"/>
              <a:gd name="T67" fmla="*/ 8925 h 11740"/>
              <a:gd name="T68" fmla="*/ 266 w 8332"/>
              <a:gd name="T69" fmla="*/ 9152 h 11740"/>
              <a:gd name="T70" fmla="*/ 326 w 8332"/>
              <a:gd name="T71" fmla="*/ 9498 h 11740"/>
              <a:gd name="T72" fmla="*/ 559 w 8332"/>
              <a:gd name="T73" fmla="*/ 9822 h 11740"/>
              <a:gd name="T74" fmla="*/ 934 w 8332"/>
              <a:gd name="T75" fmla="*/ 10073 h 11740"/>
              <a:gd name="T76" fmla="*/ 1237 w 8332"/>
              <a:gd name="T77" fmla="*/ 10172 h 11740"/>
              <a:gd name="T78" fmla="*/ 1525 w 8332"/>
              <a:gd name="T79" fmla="*/ 10198 h 11740"/>
              <a:gd name="T80" fmla="*/ 1800 w 8332"/>
              <a:gd name="T81" fmla="*/ 10155 h 11740"/>
              <a:gd name="T82" fmla="*/ 2026 w 8332"/>
              <a:gd name="T83" fmla="*/ 10048 h 11740"/>
              <a:gd name="T84" fmla="*/ 2187 w 8332"/>
              <a:gd name="T85" fmla="*/ 9886 h 11740"/>
              <a:gd name="T86" fmla="*/ 2286 w 8332"/>
              <a:gd name="T87" fmla="*/ 9672 h 11740"/>
              <a:gd name="T88" fmla="*/ 2478 w 8332"/>
              <a:gd name="T89" fmla="*/ 9230 h 11740"/>
              <a:gd name="T90" fmla="*/ 2617 w 8332"/>
              <a:gd name="T91" fmla="*/ 8942 h 11740"/>
              <a:gd name="T92" fmla="*/ 2762 w 8332"/>
              <a:gd name="T93" fmla="*/ 8793 h 11740"/>
              <a:gd name="T94" fmla="*/ 2939 w 8332"/>
              <a:gd name="T95" fmla="*/ 8706 h 11740"/>
              <a:gd name="T96" fmla="*/ 3140 w 8332"/>
              <a:gd name="T97" fmla="*/ 8687 h 11740"/>
              <a:gd name="T98" fmla="*/ 3345 w 8332"/>
              <a:gd name="T99" fmla="*/ 8734 h 11740"/>
              <a:gd name="T100" fmla="*/ 3547 w 8332"/>
              <a:gd name="T101" fmla="*/ 8846 h 11740"/>
              <a:gd name="T102" fmla="*/ 3739 w 8332"/>
              <a:gd name="T103" fmla="*/ 9019 h 11740"/>
              <a:gd name="T104" fmla="*/ 4296 w 8332"/>
              <a:gd name="T105" fmla="*/ 9725 h 11740"/>
              <a:gd name="T106" fmla="*/ 4978 w 8332"/>
              <a:gd name="T107" fmla="*/ 10727 h 11740"/>
              <a:gd name="T108" fmla="*/ 6626 w 8332"/>
              <a:gd name="T109" fmla="*/ 10620 h 11740"/>
              <a:gd name="T110" fmla="*/ 7605 w 8332"/>
              <a:gd name="T111" fmla="*/ 8945 h 11740"/>
              <a:gd name="T112" fmla="*/ 8187 w 8332"/>
              <a:gd name="T113" fmla="*/ 7057 h 11740"/>
              <a:gd name="T114" fmla="*/ 8323 w 8332"/>
              <a:gd name="T115" fmla="*/ 5089 h 11740"/>
              <a:gd name="T116" fmla="*/ 8081 w 8332"/>
              <a:gd name="T117" fmla="*/ 3402 h 11740"/>
              <a:gd name="T118" fmla="*/ 7527 w 8332"/>
              <a:gd name="T119" fmla="*/ 1838 h 11740"/>
              <a:gd name="T120" fmla="*/ 6696 w 8332"/>
              <a:gd name="T121" fmla="*/ 429 h 11740"/>
              <a:gd name="T122" fmla="*/ 4430 w 8332"/>
              <a:gd name="T123" fmla="*/ 1177 h 11740"/>
              <a:gd name="T124" fmla="*/ 3477 w 8332"/>
              <a:gd name="T125" fmla="*/ 1872 h 11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332" h="11740">
                <a:moveTo>
                  <a:pt x="3275" y="2036"/>
                </a:moveTo>
                <a:lnTo>
                  <a:pt x="3243" y="2063"/>
                </a:lnTo>
                <a:lnTo>
                  <a:pt x="3213" y="2089"/>
                </a:lnTo>
                <a:lnTo>
                  <a:pt x="3185" y="2117"/>
                </a:lnTo>
                <a:lnTo>
                  <a:pt x="3159" y="2145"/>
                </a:lnTo>
                <a:lnTo>
                  <a:pt x="3134" y="2173"/>
                </a:lnTo>
                <a:lnTo>
                  <a:pt x="3112" y="2201"/>
                </a:lnTo>
                <a:lnTo>
                  <a:pt x="3092" y="2229"/>
                </a:lnTo>
                <a:lnTo>
                  <a:pt x="3075" y="2257"/>
                </a:lnTo>
                <a:lnTo>
                  <a:pt x="3058" y="2284"/>
                </a:lnTo>
                <a:lnTo>
                  <a:pt x="3046" y="2311"/>
                </a:lnTo>
                <a:lnTo>
                  <a:pt x="3035" y="2338"/>
                </a:lnTo>
                <a:lnTo>
                  <a:pt x="3026" y="2364"/>
                </a:lnTo>
                <a:lnTo>
                  <a:pt x="3023" y="2377"/>
                </a:lnTo>
                <a:lnTo>
                  <a:pt x="3021" y="2389"/>
                </a:lnTo>
                <a:lnTo>
                  <a:pt x="3019" y="2402"/>
                </a:lnTo>
                <a:lnTo>
                  <a:pt x="3017" y="2414"/>
                </a:lnTo>
                <a:lnTo>
                  <a:pt x="3016" y="2426"/>
                </a:lnTo>
                <a:lnTo>
                  <a:pt x="3016" y="2437"/>
                </a:lnTo>
                <a:lnTo>
                  <a:pt x="3017" y="2449"/>
                </a:lnTo>
                <a:lnTo>
                  <a:pt x="3019" y="2460"/>
                </a:lnTo>
                <a:lnTo>
                  <a:pt x="3021" y="2473"/>
                </a:lnTo>
                <a:lnTo>
                  <a:pt x="3024" y="2486"/>
                </a:lnTo>
                <a:lnTo>
                  <a:pt x="3029" y="2498"/>
                </a:lnTo>
                <a:lnTo>
                  <a:pt x="3035" y="2511"/>
                </a:lnTo>
                <a:lnTo>
                  <a:pt x="3041" y="2522"/>
                </a:lnTo>
                <a:lnTo>
                  <a:pt x="3049" y="2533"/>
                </a:lnTo>
                <a:lnTo>
                  <a:pt x="3057" y="2544"/>
                </a:lnTo>
                <a:lnTo>
                  <a:pt x="3067" y="2555"/>
                </a:lnTo>
                <a:lnTo>
                  <a:pt x="3078" y="2566"/>
                </a:lnTo>
                <a:lnTo>
                  <a:pt x="3090" y="2575"/>
                </a:lnTo>
                <a:lnTo>
                  <a:pt x="3103" y="2585"/>
                </a:lnTo>
                <a:lnTo>
                  <a:pt x="3116" y="2594"/>
                </a:lnTo>
                <a:lnTo>
                  <a:pt x="3131" y="2602"/>
                </a:lnTo>
                <a:lnTo>
                  <a:pt x="3147" y="2611"/>
                </a:lnTo>
                <a:lnTo>
                  <a:pt x="3163" y="2619"/>
                </a:lnTo>
                <a:lnTo>
                  <a:pt x="3181" y="2627"/>
                </a:lnTo>
                <a:lnTo>
                  <a:pt x="3248" y="2655"/>
                </a:lnTo>
                <a:lnTo>
                  <a:pt x="3315" y="2682"/>
                </a:lnTo>
                <a:lnTo>
                  <a:pt x="3379" y="2709"/>
                </a:lnTo>
                <a:lnTo>
                  <a:pt x="3441" y="2736"/>
                </a:lnTo>
                <a:lnTo>
                  <a:pt x="3502" y="2762"/>
                </a:lnTo>
                <a:lnTo>
                  <a:pt x="3559" y="2786"/>
                </a:lnTo>
                <a:lnTo>
                  <a:pt x="3614" y="2810"/>
                </a:lnTo>
                <a:lnTo>
                  <a:pt x="3666" y="2833"/>
                </a:lnTo>
                <a:lnTo>
                  <a:pt x="3698" y="2847"/>
                </a:lnTo>
                <a:lnTo>
                  <a:pt x="3730" y="2861"/>
                </a:lnTo>
                <a:lnTo>
                  <a:pt x="3760" y="2874"/>
                </a:lnTo>
                <a:lnTo>
                  <a:pt x="3788" y="2887"/>
                </a:lnTo>
                <a:lnTo>
                  <a:pt x="3815" y="2897"/>
                </a:lnTo>
                <a:lnTo>
                  <a:pt x="3840" y="2908"/>
                </a:lnTo>
                <a:lnTo>
                  <a:pt x="3863" y="2918"/>
                </a:lnTo>
                <a:lnTo>
                  <a:pt x="3884" y="2926"/>
                </a:lnTo>
                <a:lnTo>
                  <a:pt x="3938" y="2951"/>
                </a:lnTo>
                <a:lnTo>
                  <a:pt x="3990" y="2978"/>
                </a:lnTo>
                <a:lnTo>
                  <a:pt x="4039" y="3008"/>
                </a:lnTo>
                <a:lnTo>
                  <a:pt x="4087" y="3042"/>
                </a:lnTo>
                <a:lnTo>
                  <a:pt x="4132" y="3077"/>
                </a:lnTo>
                <a:lnTo>
                  <a:pt x="4175" y="3116"/>
                </a:lnTo>
                <a:lnTo>
                  <a:pt x="4215" y="3158"/>
                </a:lnTo>
                <a:lnTo>
                  <a:pt x="4254" y="3201"/>
                </a:lnTo>
                <a:lnTo>
                  <a:pt x="4289" y="3247"/>
                </a:lnTo>
                <a:lnTo>
                  <a:pt x="4323" y="3295"/>
                </a:lnTo>
                <a:lnTo>
                  <a:pt x="4354" y="3345"/>
                </a:lnTo>
                <a:lnTo>
                  <a:pt x="4383" y="3398"/>
                </a:lnTo>
                <a:lnTo>
                  <a:pt x="4409" y="3452"/>
                </a:lnTo>
                <a:lnTo>
                  <a:pt x="4433" y="3508"/>
                </a:lnTo>
                <a:lnTo>
                  <a:pt x="4455" y="3565"/>
                </a:lnTo>
                <a:lnTo>
                  <a:pt x="4474" y="3624"/>
                </a:lnTo>
                <a:lnTo>
                  <a:pt x="4490" y="3686"/>
                </a:lnTo>
                <a:lnTo>
                  <a:pt x="4503" y="3747"/>
                </a:lnTo>
                <a:lnTo>
                  <a:pt x="4514" y="3811"/>
                </a:lnTo>
                <a:lnTo>
                  <a:pt x="4522" y="3874"/>
                </a:lnTo>
                <a:lnTo>
                  <a:pt x="4528" y="3940"/>
                </a:lnTo>
                <a:lnTo>
                  <a:pt x="4530" y="4006"/>
                </a:lnTo>
                <a:lnTo>
                  <a:pt x="4530" y="4074"/>
                </a:lnTo>
                <a:lnTo>
                  <a:pt x="4528" y="4140"/>
                </a:lnTo>
                <a:lnTo>
                  <a:pt x="4521" y="4209"/>
                </a:lnTo>
                <a:lnTo>
                  <a:pt x="4513" y="4277"/>
                </a:lnTo>
                <a:lnTo>
                  <a:pt x="4501" y="4346"/>
                </a:lnTo>
                <a:lnTo>
                  <a:pt x="4487" y="4415"/>
                </a:lnTo>
                <a:lnTo>
                  <a:pt x="4470" y="4485"/>
                </a:lnTo>
                <a:lnTo>
                  <a:pt x="4449" y="4554"/>
                </a:lnTo>
                <a:lnTo>
                  <a:pt x="4425" y="4623"/>
                </a:lnTo>
                <a:lnTo>
                  <a:pt x="4398" y="4692"/>
                </a:lnTo>
                <a:lnTo>
                  <a:pt x="4376" y="4746"/>
                </a:lnTo>
                <a:lnTo>
                  <a:pt x="4351" y="4797"/>
                </a:lnTo>
                <a:lnTo>
                  <a:pt x="4325" y="4849"/>
                </a:lnTo>
                <a:lnTo>
                  <a:pt x="4297" y="4899"/>
                </a:lnTo>
                <a:lnTo>
                  <a:pt x="4269" y="4947"/>
                </a:lnTo>
                <a:lnTo>
                  <a:pt x="4239" y="4994"/>
                </a:lnTo>
                <a:lnTo>
                  <a:pt x="4207" y="5041"/>
                </a:lnTo>
                <a:lnTo>
                  <a:pt x="4175" y="5085"/>
                </a:lnTo>
                <a:lnTo>
                  <a:pt x="4141" y="5129"/>
                </a:lnTo>
                <a:lnTo>
                  <a:pt x="4106" y="5170"/>
                </a:lnTo>
                <a:lnTo>
                  <a:pt x="4070" y="5211"/>
                </a:lnTo>
                <a:lnTo>
                  <a:pt x="4034" y="5250"/>
                </a:lnTo>
                <a:lnTo>
                  <a:pt x="3995" y="5287"/>
                </a:lnTo>
                <a:lnTo>
                  <a:pt x="3956" y="5323"/>
                </a:lnTo>
                <a:lnTo>
                  <a:pt x="3916" y="5357"/>
                </a:lnTo>
                <a:lnTo>
                  <a:pt x="3876" y="5390"/>
                </a:lnTo>
                <a:lnTo>
                  <a:pt x="3834" y="5420"/>
                </a:lnTo>
                <a:lnTo>
                  <a:pt x="3792" y="5449"/>
                </a:lnTo>
                <a:lnTo>
                  <a:pt x="3750" y="5477"/>
                </a:lnTo>
                <a:lnTo>
                  <a:pt x="3706" y="5502"/>
                </a:lnTo>
                <a:lnTo>
                  <a:pt x="3662" y="5525"/>
                </a:lnTo>
                <a:lnTo>
                  <a:pt x="3617" y="5548"/>
                </a:lnTo>
                <a:lnTo>
                  <a:pt x="3572" y="5567"/>
                </a:lnTo>
                <a:lnTo>
                  <a:pt x="3527" y="5586"/>
                </a:lnTo>
                <a:lnTo>
                  <a:pt x="3480" y="5602"/>
                </a:lnTo>
                <a:lnTo>
                  <a:pt x="3434" y="5616"/>
                </a:lnTo>
                <a:lnTo>
                  <a:pt x="3386" y="5628"/>
                </a:lnTo>
                <a:lnTo>
                  <a:pt x="3340" y="5637"/>
                </a:lnTo>
                <a:lnTo>
                  <a:pt x="3293" y="5645"/>
                </a:lnTo>
                <a:lnTo>
                  <a:pt x="3245" y="5650"/>
                </a:lnTo>
                <a:lnTo>
                  <a:pt x="3198" y="5654"/>
                </a:lnTo>
                <a:lnTo>
                  <a:pt x="3150" y="5655"/>
                </a:lnTo>
                <a:lnTo>
                  <a:pt x="3126" y="5655"/>
                </a:lnTo>
                <a:lnTo>
                  <a:pt x="3103" y="5654"/>
                </a:lnTo>
                <a:lnTo>
                  <a:pt x="3080" y="5653"/>
                </a:lnTo>
                <a:lnTo>
                  <a:pt x="3056" y="5650"/>
                </a:lnTo>
                <a:lnTo>
                  <a:pt x="3034" y="5648"/>
                </a:lnTo>
                <a:lnTo>
                  <a:pt x="3011" y="5645"/>
                </a:lnTo>
                <a:lnTo>
                  <a:pt x="2987" y="5642"/>
                </a:lnTo>
                <a:lnTo>
                  <a:pt x="2965" y="5637"/>
                </a:lnTo>
                <a:lnTo>
                  <a:pt x="2943" y="5633"/>
                </a:lnTo>
                <a:lnTo>
                  <a:pt x="2920" y="5628"/>
                </a:lnTo>
                <a:lnTo>
                  <a:pt x="2898" y="5621"/>
                </a:lnTo>
                <a:lnTo>
                  <a:pt x="2876" y="5616"/>
                </a:lnTo>
                <a:lnTo>
                  <a:pt x="2853" y="5608"/>
                </a:lnTo>
                <a:lnTo>
                  <a:pt x="2832" y="5601"/>
                </a:lnTo>
                <a:lnTo>
                  <a:pt x="2810" y="5593"/>
                </a:lnTo>
                <a:lnTo>
                  <a:pt x="2789" y="5585"/>
                </a:lnTo>
                <a:lnTo>
                  <a:pt x="2753" y="5569"/>
                </a:lnTo>
                <a:lnTo>
                  <a:pt x="2718" y="5549"/>
                </a:lnTo>
                <a:lnTo>
                  <a:pt x="2680" y="5527"/>
                </a:lnTo>
                <a:lnTo>
                  <a:pt x="2642" y="5502"/>
                </a:lnTo>
                <a:lnTo>
                  <a:pt x="2603" y="5474"/>
                </a:lnTo>
                <a:lnTo>
                  <a:pt x="2564" y="5444"/>
                </a:lnTo>
                <a:lnTo>
                  <a:pt x="2525" y="5411"/>
                </a:lnTo>
                <a:lnTo>
                  <a:pt x="2486" y="5377"/>
                </a:lnTo>
                <a:lnTo>
                  <a:pt x="2446" y="5341"/>
                </a:lnTo>
                <a:lnTo>
                  <a:pt x="2406" y="5304"/>
                </a:lnTo>
                <a:lnTo>
                  <a:pt x="2367" y="5265"/>
                </a:lnTo>
                <a:lnTo>
                  <a:pt x="2327" y="5226"/>
                </a:lnTo>
                <a:lnTo>
                  <a:pt x="2288" y="5185"/>
                </a:lnTo>
                <a:lnTo>
                  <a:pt x="2249" y="5144"/>
                </a:lnTo>
                <a:lnTo>
                  <a:pt x="2212" y="5102"/>
                </a:lnTo>
                <a:lnTo>
                  <a:pt x="2174" y="5060"/>
                </a:lnTo>
                <a:lnTo>
                  <a:pt x="2101" y="4977"/>
                </a:lnTo>
                <a:lnTo>
                  <a:pt x="2034" y="4895"/>
                </a:lnTo>
                <a:lnTo>
                  <a:pt x="1970" y="4817"/>
                </a:lnTo>
                <a:lnTo>
                  <a:pt x="1912" y="4745"/>
                </a:lnTo>
                <a:lnTo>
                  <a:pt x="1861" y="4679"/>
                </a:lnTo>
                <a:lnTo>
                  <a:pt x="1818" y="4622"/>
                </a:lnTo>
                <a:lnTo>
                  <a:pt x="1783" y="4575"/>
                </a:lnTo>
                <a:lnTo>
                  <a:pt x="1758" y="4541"/>
                </a:lnTo>
                <a:lnTo>
                  <a:pt x="1733" y="4507"/>
                </a:lnTo>
                <a:lnTo>
                  <a:pt x="1706" y="4474"/>
                </a:lnTo>
                <a:lnTo>
                  <a:pt x="1677" y="4443"/>
                </a:lnTo>
                <a:lnTo>
                  <a:pt x="1649" y="4415"/>
                </a:lnTo>
                <a:lnTo>
                  <a:pt x="1620" y="4388"/>
                </a:lnTo>
                <a:lnTo>
                  <a:pt x="1591" y="4364"/>
                </a:lnTo>
                <a:lnTo>
                  <a:pt x="1561" y="4342"/>
                </a:lnTo>
                <a:lnTo>
                  <a:pt x="1531" y="4321"/>
                </a:lnTo>
                <a:lnTo>
                  <a:pt x="1499" y="4304"/>
                </a:lnTo>
                <a:lnTo>
                  <a:pt x="1468" y="4288"/>
                </a:lnTo>
                <a:lnTo>
                  <a:pt x="1453" y="4281"/>
                </a:lnTo>
                <a:lnTo>
                  <a:pt x="1437" y="4275"/>
                </a:lnTo>
                <a:lnTo>
                  <a:pt x="1422" y="4268"/>
                </a:lnTo>
                <a:lnTo>
                  <a:pt x="1406" y="4264"/>
                </a:lnTo>
                <a:lnTo>
                  <a:pt x="1391" y="4259"/>
                </a:lnTo>
                <a:lnTo>
                  <a:pt x="1374" y="4256"/>
                </a:lnTo>
                <a:lnTo>
                  <a:pt x="1359" y="4251"/>
                </a:lnTo>
                <a:lnTo>
                  <a:pt x="1343" y="4249"/>
                </a:lnTo>
                <a:lnTo>
                  <a:pt x="1328" y="4247"/>
                </a:lnTo>
                <a:lnTo>
                  <a:pt x="1312" y="4245"/>
                </a:lnTo>
                <a:lnTo>
                  <a:pt x="1296" y="4244"/>
                </a:lnTo>
                <a:lnTo>
                  <a:pt x="1280" y="4244"/>
                </a:lnTo>
                <a:lnTo>
                  <a:pt x="1255" y="4245"/>
                </a:lnTo>
                <a:lnTo>
                  <a:pt x="1229" y="4247"/>
                </a:lnTo>
                <a:lnTo>
                  <a:pt x="1203" y="4251"/>
                </a:lnTo>
                <a:lnTo>
                  <a:pt x="1177" y="4258"/>
                </a:lnTo>
                <a:lnTo>
                  <a:pt x="1152" y="4265"/>
                </a:lnTo>
                <a:lnTo>
                  <a:pt x="1127" y="4275"/>
                </a:lnTo>
                <a:lnTo>
                  <a:pt x="1102" y="4287"/>
                </a:lnTo>
                <a:lnTo>
                  <a:pt x="1078" y="4300"/>
                </a:lnTo>
                <a:lnTo>
                  <a:pt x="1054" y="4314"/>
                </a:lnTo>
                <a:lnTo>
                  <a:pt x="1030" y="4331"/>
                </a:lnTo>
                <a:lnTo>
                  <a:pt x="1006" y="4348"/>
                </a:lnTo>
                <a:lnTo>
                  <a:pt x="984" y="4368"/>
                </a:lnTo>
                <a:lnTo>
                  <a:pt x="961" y="4389"/>
                </a:lnTo>
                <a:lnTo>
                  <a:pt x="940" y="4412"/>
                </a:lnTo>
                <a:lnTo>
                  <a:pt x="917" y="4436"/>
                </a:lnTo>
                <a:lnTo>
                  <a:pt x="896" y="4462"/>
                </a:lnTo>
                <a:lnTo>
                  <a:pt x="837" y="4539"/>
                </a:lnTo>
                <a:lnTo>
                  <a:pt x="778" y="4615"/>
                </a:lnTo>
                <a:lnTo>
                  <a:pt x="719" y="4693"/>
                </a:lnTo>
                <a:lnTo>
                  <a:pt x="661" y="4770"/>
                </a:lnTo>
                <a:lnTo>
                  <a:pt x="604" y="4849"/>
                </a:lnTo>
                <a:lnTo>
                  <a:pt x="546" y="4928"/>
                </a:lnTo>
                <a:lnTo>
                  <a:pt x="490" y="5006"/>
                </a:lnTo>
                <a:lnTo>
                  <a:pt x="434" y="5086"/>
                </a:lnTo>
                <a:lnTo>
                  <a:pt x="377" y="5166"/>
                </a:lnTo>
                <a:lnTo>
                  <a:pt x="321" y="5246"/>
                </a:lnTo>
                <a:lnTo>
                  <a:pt x="266" y="5327"/>
                </a:lnTo>
                <a:lnTo>
                  <a:pt x="212" y="5408"/>
                </a:lnTo>
                <a:lnTo>
                  <a:pt x="158" y="5489"/>
                </a:lnTo>
                <a:lnTo>
                  <a:pt x="104" y="5571"/>
                </a:lnTo>
                <a:lnTo>
                  <a:pt x="52" y="5653"/>
                </a:lnTo>
                <a:lnTo>
                  <a:pt x="0" y="5736"/>
                </a:lnTo>
                <a:lnTo>
                  <a:pt x="85" y="5789"/>
                </a:lnTo>
                <a:lnTo>
                  <a:pt x="169" y="5843"/>
                </a:lnTo>
                <a:lnTo>
                  <a:pt x="253" y="5898"/>
                </a:lnTo>
                <a:lnTo>
                  <a:pt x="336" y="5953"/>
                </a:lnTo>
                <a:lnTo>
                  <a:pt x="421" y="6009"/>
                </a:lnTo>
                <a:lnTo>
                  <a:pt x="503" y="6065"/>
                </a:lnTo>
                <a:lnTo>
                  <a:pt x="586" y="6122"/>
                </a:lnTo>
                <a:lnTo>
                  <a:pt x="668" y="6179"/>
                </a:lnTo>
                <a:lnTo>
                  <a:pt x="750" y="6237"/>
                </a:lnTo>
                <a:lnTo>
                  <a:pt x="831" y="6296"/>
                </a:lnTo>
                <a:lnTo>
                  <a:pt x="910" y="6354"/>
                </a:lnTo>
                <a:lnTo>
                  <a:pt x="991" y="6413"/>
                </a:lnTo>
                <a:lnTo>
                  <a:pt x="1070" y="6472"/>
                </a:lnTo>
                <a:lnTo>
                  <a:pt x="1150" y="6532"/>
                </a:lnTo>
                <a:lnTo>
                  <a:pt x="1229" y="6592"/>
                </a:lnTo>
                <a:lnTo>
                  <a:pt x="1306" y="6652"/>
                </a:lnTo>
                <a:lnTo>
                  <a:pt x="1329" y="6670"/>
                </a:lnTo>
                <a:lnTo>
                  <a:pt x="1351" y="6689"/>
                </a:lnTo>
                <a:lnTo>
                  <a:pt x="1372" y="6707"/>
                </a:lnTo>
                <a:lnTo>
                  <a:pt x="1393" y="6726"/>
                </a:lnTo>
                <a:lnTo>
                  <a:pt x="1412" y="6746"/>
                </a:lnTo>
                <a:lnTo>
                  <a:pt x="1432" y="6766"/>
                </a:lnTo>
                <a:lnTo>
                  <a:pt x="1450" y="6786"/>
                </a:lnTo>
                <a:lnTo>
                  <a:pt x="1468" y="6806"/>
                </a:lnTo>
                <a:lnTo>
                  <a:pt x="1485" y="6827"/>
                </a:lnTo>
                <a:lnTo>
                  <a:pt x="1502" y="6848"/>
                </a:lnTo>
                <a:lnTo>
                  <a:pt x="1517" y="6869"/>
                </a:lnTo>
                <a:lnTo>
                  <a:pt x="1532" y="6890"/>
                </a:lnTo>
                <a:lnTo>
                  <a:pt x="1547" y="6912"/>
                </a:lnTo>
                <a:lnTo>
                  <a:pt x="1560" y="6934"/>
                </a:lnTo>
                <a:lnTo>
                  <a:pt x="1573" y="6956"/>
                </a:lnTo>
                <a:lnTo>
                  <a:pt x="1585" y="6979"/>
                </a:lnTo>
                <a:lnTo>
                  <a:pt x="1597" y="7001"/>
                </a:lnTo>
                <a:lnTo>
                  <a:pt x="1607" y="7024"/>
                </a:lnTo>
                <a:lnTo>
                  <a:pt x="1617" y="7047"/>
                </a:lnTo>
                <a:lnTo>
                  <a:pt x="1627" y="7070"/>
                </a:lnTo>
                <a:lnTo>
                  <a:pt x="1634" y="7094"/>
                </a:lnTo>
                <a:lnTo>
                  <a:pt x="1643" y="7117"/>
                </a:lnTo>
                <a:lnTo>
                  <a:pt x="1649" y="7141"/>
                </a:lnTo>
                <a:lnTo>
                  <a:pt x="1656" y="7166"/>
                </a:lnTo>
                <a:lnTo>
                  <a:pt x="1661" y="7190"/>
                </a:lnTo>
                <a:lnTo>
                  <a:pt x="1666" y="7213"/>
                </a:lnTo>
                <a:lnTo>
                  <a:pt x="1670" y="7238"/>
                </a:lnTo>
                <a:lnTo>
                  <a:pt x="1673" y="7263"/>
                </a:lnTo>
                <a:lnTo>
                  <a:pt x="1675" y="7288"/>
                </a:lnTo>
                <a:lnTo>
                  <a:pt x="1676" y="7312"/>
                </a:lnTo>
                <a:lnTo>
                  <a:pt x="1677" y="7337"/>
                </a:lnTo>
                <a:lnTo>
                  <a:pt x="1677" y="7362"/>
                </a:lnTo>
                <a:lnTo>
                  <a:pt x="1676" y="7390"/>
                </a:lnTo>
                <a:lnTo>
                  <a:pt x="1674" y="7417"/>
                </a:lnTo>
                <a:lnTo>
                  <a:pt x="1671" y="7444"/>
                </a:lnTo>
                <a:lnTo>
                  <a:pt x="1668" y="7472"/>
                </a:lnTo>
                <a:lnTo>
                  <a:pt x="1663" y="7499"/>
                </a:lnTo>
                <a:lnTo>
                  <a:pt x="1658" y="7526"/>
                </a:lnTo>
                <a:lnTo>
                  <a:pt x="1652" y="7553"/>
                </a:lnTo>
                <a:lnTo>
                  <a:pt x="1644" y="7578"/>
                </a:lnTo>
                <a:lnTo>
                  <a:pt x="1635" y="7605"/>
                </a:lnTo>
                <a:lnTo>
                  <a:pt x="1627" y="7631"/>
                </a:lnTo>
                <a:lnTo>
                  <a:pt x="1617" y="7657"/>
                </a:lnTo>
                <a:lnTo>
                  <a:pt x="1606" y="7683"/>
                </a:lnTo>
                <a:lnTo>
                  <a:pt x="1594" y="7709"/>
                </a:lnTo>
                <a:lnTo>
                  <a:pt x="1581" y="7735"/>
                </a:lnTo>
                <a:lnTo>
                  <a:pt x="1569" y="7759"/>
                </a:lnTo>
                <a:lnTo>
                  <a:pt x="1553" y="7785"/>
                </a:lnTo>
                <a:lnTo>
                  <a:pt x="1538" y="7810"/>
                </a:lnTo>
                <a:lnTo>
                  <a:pt x="1523" y="7834"/>
                </a:lnTo>
                <a:lnTo>
                  <a:pt x="1506" y="7859"/>
                </a:lnTo>
                <a:lnTo>
                  <a:pt x="1489" y="7882"/>
                </a:lnTo>
                <a:lnTo>
                  <a:pt x="1470" y="7906"/>
                </a:lnTo>
                <a:lnTo>
                  <a:pt x="1451" y="7930"/>
                </a:lnTo>
                <a:lnTo>
                  <a:pt x="1430" y="7953"/>
                </a:lnTo>
                <a:lnTo>
                  <a:pt x="1410" y="7976"/>
                </a:lnTo>
                <a:lnTo>
                  <a:pt x="1388" y="7999"/>
                </a:lnTo>
                <a:lnTo>
                  <a:pt x="1366" y="8020"/>
                </a:lnTo>
                <a:lnTo>
                  <a:pt x="1343" y="8043"/>
                </a:lnTo>
                <a:lnTo>
                  <a:pt x="1319" y="8064"/>
                </a:lnTo>
                <a:lnTo>
                  <a:pt x="1294" y="8085"/>
                </a:lnTo>
                <a:lnTo>
                  <a:pt x="1269" y="8105"/>
                </a:lnTo>
                <a:lnTo>
                  <a:pt x="1243" y="8126"/>
                </a:lnTo>
                <a:lnTo>
                  <a:pt x="1215" y="8146"/>
                </a:lnTo>
                <a:lnTo>
                  <a:pt x="1121" y="8215"/>
                </a:lnTo>
                <a:lnTo>
                  <a:pt x="1030" y="8284"/>
                </a:lnTo>
                <a:lnTo>
                  <a:pt x="945" y="8352"/>
                </a:lnTo>
                <a:lnTo>
                  <a:pt x="864" y="8418"/>
                </a:lnTo>
                <a:lnTo>
                  <a:pt x="787" y="8482"/>
                </a:lnTo>
                <a:lnTo>
                  <a:pt x="716" y="8545"/>
                </a:lnTo>
                <a:lnTo>
                  <a:pt x="649" y="8605"/>
                </a:lnTo>
                <a:lnTo>
                  <a:pt x="589" y="8662"/>
                </a:lnTo>
                <a:lnTo>
                  <a:pt x="533" y="8718"/>
                </a:lnTo>
                <a:lnTo>
                  <a:pt x="482" y="8770"/>
                </a:lnTo>
                <a:lnTo>
                  <a:pt x="438" y="8819"/>
                </a:lnTo>
                <a:lnTo>
                  <a:pt x="399" y="8865"/>
                </a:lnTo>
                <a:lnTo>
                  <a:pt x="382" y="8885"/>
                </a:lnTo>
                <a:lnTo>
                  <a:pt x="366" y="8905"/>
                </a:lnTo>
                <a:lnTo>
                  <a:pt x="352" y="8925"/>
                </a:lnTo>
                <a:lnTo>
                  <a:pt x="339" y="8943"/>
                </a:lnTo>
                <a:lnTo>
                  <a:pt x="328" y="8960"/>
                </a:lnTo>
                <a:lnTo>
                  <a:pt x="318" y="8977"/>
                </a:lnTo>
                <a:lnTo>
                  <a:pt x="311" y="8992"/>
                </a:lnTo>
                <a:lnTo>
                  <a:pt x="304" y="9005"/>
                </a:lnTo>
                <a:lnTo>
                  <a:pt x="291" y="9041"/>
                </a:lnTo>
                <a:lnTo>
                  <a:pt x="280" y="9078"/>
                </a:lnTo>
                <a:lnTo>
                  <a:pt x="272" y="9114"/>
                </a:lnTo>
                <a:lnTo>
                  <a:pt x="266" y="9152"/>
                </a:lnTo>
                <a:lnTo>
                  <a:pt x="263" y="9191"/>
                </a:lnTo>
                <a:lnTo>
                  <a:pt x="263" y="9229"/>
                </a:lnTo>
                <a:lnTo>
                  <a:pt x="265" y="9267"/>
                </a:lnTo>
                <a:lnTo>
                  <a:pt x="270" y="9306"/>
                </a:lnTo>
                <a:lnTo>
                  <a:pt x="276" y="9344"/>
                </a:lnTo>
                <a:lnTo>
                  <a:pt x="285" y="9383"/>
                </a:lnTo>
                <a:lnTo>
                  <a:pt x="297" y="9421"/>
                </a:lnTo>
                <a:lnTo>
                  <a:pt x="309" y="9460"/>
                </a:lnTo>
                <a:lnTo>
                  <a:pt x="326" y="9498"/>
                </a:lnTo>
                <a:lnTo>
                  <a:pt x="344" y="9537"/>
                </a:lnTo>
                <a:lnTo>
                  <a:pt x="363" y="9574"/>
                </a:lnTo>
                <a:lnTo>
                  <a:pt x="385" y="9611"/>
                </a:lnTo>
                <a:lnTo>
                  <a:pt x="410" y="9648"/>
                </a:lnTo>
                <a:lnTo>
                  <a:pt x="436" y="9684"/>
                </a:lnTo>
                <a:lnTo>
                  <a:pt x="464" y="9720"/>
                </a:lnTo>
                <a:lnTo>
                  <a:pt x="493" y="9754"/>
                </a:lnTo>
                <a:lnTo>
                  <a:pt x="525" y="9789"/>
                </a:lnTo>
                <a:lnTo>
                  <a:pt x="559" y="9822"/>
                </a:lnTo>
                <a:lnTo>
                  <a:pt x="593" y="9854"/>
                </a:lnTo>
                <a:lnTo>
                  <a:pt x="631" y="9886"/>
                </a:lnTo>
                <a:lnTo>
                  <a:pt x="670" y="9917"/>
                </a:lnTo>
                <a:lnTo>
                  <a:pt x="710" y="9946"/>
                </a:lnTo>
                <a:lnTo>
                  <a:pt x="752" y="9974"/>
                </a:lnTo>
                <a:lnTo>
                  <a:pt x="795" y="10001"/>
                </a:lnTo>
                <a:lnTo>
                  <a:pt x="839" y="10027"/>
                </a:lnTo>
                <a:lnTo>
                  <a:pt x="886" y="10050"/>
                </a:lnTo>
                <a:lnTo>
                  <a:pt x="934" y="10073"/>
                </a:lnTo>
                <a:lnTo>
                  <a:pt x="983" y="10095"/>
                </a:lnTo>
                <a:lnTo>
                  <a:pt x="1014" y="10108"/>
                </a:lnTo>
                <a:lnTo>
                  <a:pt x="1045" y="10118"/>
                </a:lnTo>
                <a:lnTo>
                  <a:pt x="1077" y="10129"/>
                </a:lnTo>
                <a:lnTo>
                  <a:pt x="1109" y="10140"/>
                </a:lnTo>
                <a:lnTo>
                  <a:pt x="1140" y="10148"/>
                </a:lnTo>
                <a:lnTo>
                  <a:pt x="1173" y="10157"/>
                </a:lnTo>
                <a:lnTo>
                  <a:pt x="1205" y="10165"/>
                </a:lnTo>
                <a:lnTo>
                  <a:pt x="1237" y="10172"/>
                </a:lnTo>
                <a:lnTo>
                  <a:pt x="1269" y="10178"/>
                </a:lnTo>
                <a:lnTo>
                  <a:pt x="1301" y="10183"/>
                </a:lnTo>
                <a:lnTo>
                  <a:pt x="1333" y="10188"/>
                </a:lnTo>
                <a:lnTo>
                  <a:pt x="1366" y="10192"/>
                </a:lnTo>
                <a:lnTo>
                  <a:pt x="1398" y="10195"/>
                </a:lnTo>
                <a:lnTo>
                  <a:pt x="1429" y="10197"/>
                </a:lnTo>
                <a:lnTo>
                  <a:pt x="1462" y="10198"/>
                </a:lnTo>
                <a:lnTo>
                  <a:pt x="1493" y="10198"/>
                </a:lnTo>
                <a:lnTo>
                  <a:pt x="1525" y="10198"/>
                </a:lnTo>
                <a:lnTo>
                  <a:pt x="1559" y="10197"/>
                </a:lnTo>
                <a:lnTo>
                  <a:pt x="1590" y="10194"/>
                </a:lnTo>
                <a:lnTo>
                  <a:pt x="1622" y="10192"/>
                </a:lnTo>
                <a:lnTo>
                  <a:pt x="1654" y="10187"/>
                </a:lnTo>
                <a:lnTo>
                  <a:pt x="1684" y="10183"/>
                </a:lnTo>
                <a:lnTo>
                  <a:pt x="1714" y="10176"/>
                </a:lnTo>
                <a:lnTo>
                  <a:pt x="1743" y="10170"/>
                </a:lnTo>
                <a:lnTo>
                  <a:pt x="1772" y="10164"/>
                </a:lnTo>
                <a:lnTo>
                  <a:pt x="1800" y="10155"/>
                </a:lnTo>
                <a:lnTo>
                  <a:pt x="1829" y="10146"/>
                </a:lnTo>
                <a:lnTo>
                  <a:pt x="1856" y="10137"/>
                </a:lnTo>
                <a:lnTo>
                  <a:pt x="1882" y="10126"/>
                </a:lnTo>
                <a:lnTo>
                  <a:pt x="1908" y="10115"/>
                </a:lnTo>
                <a:lnTo>
                  <a:pt x="1933" y="10103"/>
                </a:lnTo>
                <a:lnTo>
                  <a:pt x="1958" y="10090"/>
                </a:lnTo>
                <a:lnTo>
                  <a:pt x="1982" y="10077"/>
                </a:lnTo>
                <a:lnTo>
                  <a:pt x="2004" y="10063"/>
                </a:lnTo>
                <a:lnTo>
                  <a:pt x="2026" y="10048"/>
                </a:lnTo>
                <a:lnTo>
                  <a:pt x="2048" y="10033"/>
                </a:lnTo>
                <a:lnTo>
                  <a:pt x="2068" y="10017"/>
                </a:lnTo>
                <a:lnTo>
                  <a:pt x="2087" y="10000"/>
                </a:lnTo>
                <a:lnTo>
                  <a:pt x="2107" y="9983"/>
                </a:lnTo>
                <a:lnTo>
                  <a:pt x="2124" y="9964"/>
                </a:lnTo>
                <a:lnTo>
                  <a:pt x="2141" y="9945"/>
                </a:lnTo>
                <a:lnTo>
                  <a:pt x="2158" y="9926"/>
                </a:lnTo>
                <a:lnTo>
                  <a:pt x="2173" y="9906"/>
                </a:lnTo>
                <a:lnTo>
                  <a:pt x="2187" y="9886"/>
                </a:lnTo>
                <a:lnTo>
                  <a:pt x="2200" y="9864"/>
                </a:lnTo>
                <a:lnTo>
                  <a:pt x="2212" y="9843"/>
                </a:lnTo>
                <a:lnTo>
                  <a:pt x="2223" y="9820"/>
                </a:lnTo>
                <a:lnTo>
                  <a:pt x="2233" y="9797"/>
                </a:lnTo>
                <a:lnTo>
                  <a:pt x="2242" y="9775"/>
                </a:lnTo>
                <a:lnTo>
                  <a:pt x="2253" y="9752"/>
                </a:lnTo>
                <a:lnTo>
                  <a:pt x="2263" y="9726"/>
                </a:lnTo>
                <a:lnTo>
                  <a:pt x="2274" y="9700"/>
                </a:lnTo>
                <a:lnTo>
                  <a:pt x="2286" y="9672"/>
                </a:lnTo>
                <a:lnTo>
                  <a:pt x="2299" y="9642"/>
                </a:lnTo>
                <a:lnTo>
                  <a:pt x="2313" y="9612"/>
                </a:lnTo>
                <a:lnTo>
                  <a:pt x="2327" y="9580"/>
                </a:lnTo>
                <a:lnTo>
                  <a:pt x="2350" y="9528"/>
                </a:lnTo>
                <a:lnTo>
                  <a:pt x="2373" y="9473"/>
                </a:lnTo>
                <a:lnTo>
                  <a:pt x="2398" y="9416"/>
                </a:lnTo>
                <a:lnTo>
                  <a:pt x="2424" y="9356"/>
                </a:lnTo>
                <a:lnTo>
                  <a:pt x="2451" y="9293"/>
                </a:lnTo>
                <a:lnTo>
                  <a:pt x="2478" y="9230"/>
                </a:lnTo>
                <a:lnTo>
                  <a:pt x="2506" y="9163"/>
                </a:lnTo>
                <a:lnTo>
                  <a:pt x="2534" y="9095"/>
                </a:lnTo>
                <a:lnTo>
                  <a:pt x="2544" y="9071"/>
                </a:lnTo>
                <a:lnTo>
                  <a:pt x="2555" y="9049"/>
                </a:lnTo>
                <a:lnTo>
                  <a:pt x="2566" y="9026"/>
                </a:lnTo>
                <a:lnTo>
                  <a:pt x="2578" y="9004"/>
                </a:lnTo>
                <a:lnTo>
                  <a:pt x="2590" y="8983"/>
                </a:lnTo>
                <a:lnTo>
                  <a:pt x="2603" y="8961"/>
                </a:lnTo>
                <a:lnTo>
                  <a:pt x="2617" y="8942"/>
                </a:lnTo>
                <a:lnTo>
                  <a:pt x="2631" y="8923"/>
                </a:lnTo>
                <a:lnTo>
                  <a:pt x="2645" y="8904"/>
                </a:lnTo>
                <a:lnTo>
                  <a:pt x="2660" y="8886"/>
                </a:lnTo>
                <a:lnTo>
                  <a:pt x="2677" y="8869"/>
                </a:lnTo>
                <a:lnTo>
                  <a:pt x="2693" y="8853"/>
                </a:lnTo>
                <a:lnTo>
                  <a:pt x="2709" y="8837"/>
                </a:lnTo>
                <a:lnTo>
                  <a:pt x="2726" y="8821"/>
                </a:lnTo>
                <a:lnTo>
                  <a:pt x="2743" y="8807"/>
                </a:lnTo>
                <a:lnTo>
                  <a:pt x="2762" y="8793"/>
                </a:lnTo>
                <a:lnTo>
                  <a:pt x="2779" y="8781"/>
                </a:lnTo>
                <a:lnTo>
                  <a:pt x="2798" y="8769"/>
                </a:lnTo>
                <a:lnTo>
                  <a:pt x="2817" y="8758"/>
                </a:lnTo>
                <a:lnTo>
                  <a:pt x="2836" y="8747"/>
                </a:lnTo>
                <a:lnTo>
                  <a:pt x="2857" y="8737"/>
                </a:lnTo>
                <a:lnTo>
                  <a:pt x="2877" y="8728"/>
                </a:lnTo>
                <a:lnTo>
                  <a:pt x="2898" y="8720"/>
                </a:lnTo>
                <a:lnTo>
                  <a:pt x="2918" y="8713"/>
                </a:lnTo>
                <a:lnTo>
                  <a:pt x="2939" y="8706"/>
                </a:lnTo>
                <a:lnTo>
                  <a:pt x="2960" y="8701"/>
                </a:lnTo>
                <a:lnTo>
                  <a:pt x="2982" y="8695"/>
                </a:lnTo>
                <a:lnTo>
                  <a:pt x="3005" y="8692"/>
                </a:lnTo>
                <a:lnTo>
                  <a:pt x="3026" y="8689"/>
                </a:lnTo>
                <a:lnTo>
                  <a:pt x="3049" y="8687"/>
                </a:lnTo>
                <a:lnTo>
                  <a:pt x="3071" y="8686"/>
                </a:lnTo>
                <a:lnTo>
                  <a:pt x="3095" y="8685"/>
                </a:lnTo>
                <a:lnTo>
                  <a:pt x="3118" y="8686"/>
                </a:lnTo>
                <a:lnTo>
                  <a:pt x="3140" y="8687"/>
                </a:lnTo>
                <a:lnTo>
                  <a:pt x="3163" y="8689"/>
                </a:lnTo>
                <a:lnTo>
                  <a:pt x="3186" y="8691"/>
                </a:lnTo>
                <a:lnTo>
                  <a:pt x="3208" y="8695"/>
                </a:lnTo>
                <a:lnTo>
                  <a:pt x="3231" y="8700"/>
                </a:lnTo>
                <a:lnTo>
                  <a:pt x="3254" y="8705"/>
                </a:lnTo>
                <a:lnTo>
                  <a:pt x="3276" y="8712"/>
                </a:lnTo>
                <a:lnTo>
                  <a:pt x="3300" y="8718"/>
                </a:lnTo>
                <a:lnTo>
                  <a:pt x="3323" y="8726"/>
                </a:lnTo>
                <a:lnTo>
                  <a:pt x="3345" y="8734"/>
                </a:lnTo>
                <a:lnTo>
                  <a:pt x="3368" y="8744"/>
                </a:lnTo>
                <a:lnTo>
                  <a:pt x="3391" y="8754"/>
                </a:lnTo>
                <a:lnTo>
                  <a:pt x="3413" y="8764"/>
                </a:lnTo>
                <a:lnTo>
                  <a:pt x="3435" y="8776"/>
                </a:lnTo>
                <a:lnTo>
                  <a:pt x="3458" y="8789"/>
                </a:lnTo>
                <a:lnTo>
                  <a:pt x="3480" y="8802"/>
                </a:lnTo>
                <a:lnTo>
                  <a:pt x="3503" y="8816"/>
                </a:lnTo>
                <a:lnTo>
                  <a:pt x="3525" y="8831"/>
                </a:lnTo>
                <a:lnTo>
                  <a:pt x="3547" y="8846"/>
                </a:lnTo>
                <a:lnTo>
                  <a:pt x="3569" y="8862"/>
                </a:lnTo>
                <a:lnTo>
                  <a:pt x="3590" y="8880"/>
                </a:lnTo>
                <a:lnTo>
                  <a:pt x="3612" y="8897"/>
                </a:lnTo>
                <a:lnTo>
                  <a:pt x="3633" y="8915"/>
                </a:lnTo>
                <a:lnTo>
                  <a:pt x="3655" y="8935"/>
                </a:lnTo>
                <a:lnTo>
                  <a:pt x="3677" y="8954"/>
                </a:lnTo>
                <a:lnTo>
                  <a:pt x="3697" y="8976"/>
                </a:lnTo>
                <a:lnTo>
                  <a:pt x="3719" y="8996"/>
                </a:lnTo>
                <a:lnTo>
                  <a:pt x="3739" y="9019"/>
                </a:lnTo>
                <a:lnTo>
                  <a:pt x="3760" y="9041"/>
                </a:lnTo>
                <a:lnTo>
                  <a:pt x="3780" y="9064"/>
                </a:lnTo>
                <a:lnTo>
                  <a:pt x="3800" y="9089"/>
                </a:lnTo>
                <a:lnTo>
                  <a:pt x="3885" y="9193"/>
                </a:lnTo>
                <a:lnTo>
                  <a:pt x="3969" y="9298"/>
                </a:lnTo>
                <a:lnTo>
                  <a:pt x="4052" y="9403"/>
                </a:lnTo>
                <a:lnTo>
                  <a:pt x="4134" y="9510"/>
                </a:lnTo>
                <a:lnTo>
                  <a:pt x="4216" y="9617"/>
                </a:lnTo>
                <a:lnTo>
                  <a:pt x="4296" y="9725"/>
                </a:lnTo>
                <a:lnTo>
                  <a:pt x="4376" y="9834"/>
                </a:lnTo>
                <a:lnTo>
                  <a:pt x="4455" y="9944"/>
                </a:lnTo>
                <a:lnTo>
                  <a:pt x="4532" y="10054"/>
                </a:lnTo>
                <a:lnTo>
                  <a:pt x="4609" y="10165"/>
                </a:lnTo>
                <a:lnTo>
                  <a:pt x="4684" y="10276"/>
                </a:lnTo>
                <a:lnTo>
                  <a:pt x="4760" y="10388"/>
                </a:lnTo>
                <a:lnTo>
                  <a:pt x="4833" y="10501"/>
                </a:lnTo>
                <a:lnTo>
                  <a:pt x="4907" y="10613"/>
                </a:lnTo>
                <a:lnTo>
                  <a:pt x="4978" y="10727"/>
                </a:lnTo>
                <a:lnTo>
                  <a:pt x="5049" y="10841"/>
                </a:lnTo>
                <a:lnTo>
                  <a:pt x="5628" y="11740"/>
                </a:lnTo>
                <a:lnTo>
                  <a:pt x="5783" y="11592"/>
                </a:lnTo>
                <a:lnTo>
                  <a:pt x="5933" y="11439"/>
                </a:lnTo>
                <a:lnTo>
                  <a:pt x="6079" y="11282"/>
                </a:lnTo>
                <a:lnTo>
                  <a:pt x="6222" y="11121"/>
                </a:lnTo>
                <a:lnTo>
                  <a:pt x="6361" y="10957"/>
                </a:lnTo>
                <a:lnTo>
                  <a:pt x="6496" y="10790"/>
                </a:lnTo>
                <a:lnTo>
                  <a:pt x="6626" y="10620"/>
                </a:lnTo>
                <a:lnTo>
                  <a:pt x="6753" y="10446"/>
                </a:lnTo>
                <a:lnTo>
                  <a:pt x="6876" y="10269"/>
                </a:lnTo>
                <a:lnTo>
                  <a:pt x="6993" y="10089"/>
                </a:lnTo>
                <a:lnTo>
                  <a:pt x="7106" y="9905"/>
                </a:lnTo>
                <a:lnTo>
                  <a:pt x="7215" y="9719"/>
                </a:lnTo>
                <a:lnTo>
                  <a:pt x="7320" y="9530"/>
                </a:lnTo>
                <a:lnTo>
                  <a:pt x="7419" y="9337"/>
                </a:lnTo>
                <a:lnTo>
                  <a:pt x="7514" y="9142"/>
                </a:lnTo>
                <a:lnTo>
                  <a:pt x="7605" y="8945"/>
                </a:lnTo>
                <a:lnTo>
                  <a:pt x="7690" y="8745"/>
                </a:lnTo>
                <a:lnTo>
                  <a:pt x="7770" y="8542"/>
                </a:lnTo>
                <a:lnTo>
                  <a:pt x="7845" y="8337"/>
                </a:lnTo>
                <a:lnTo>
                  <a:pt x="7916" y="8129"/>
                </a:lnTo>
                <a:lnTo>
                  <a:pt x="7980" y="7919"/>
                </a:lnTo>
                <a:lnTo>
                  <a:pt x="8040" y="7707"/>
                </a:lnTo>
                <a:lnTo>
                  <a:pt x="8095" y="7492"/>
                </a:lnTo>
                <a:lnTo>
                  <a:pt x="8143" y="7276"/>
                </a:lnTo>
                <a:lnTo>
                  <a:pt x="8187" y="7057"/>
                </a:lnTo>
                <a:lnTo>
                  <a:pt x="8225" y="6836"/>
                </a:lnTo>
                <a:lnTo>
                  <a:pt x="8258" y="6614"/>
                </a:lnTo>
                <a:lnTo>
                  <a:pt x="8285" y="6390"/>
                </a:lnTo>
                <a:lnTo>
                  <a:pt x="8305" y="6164"/>
                </a:lnTo>
                <a:lnTo>
                  <a:pt x="8320" y="5937"/>
                </a:lnTo>
                <a:lnTo>
                  <a:pt x="8329" y="5708"/>
                </a:lnTo>
                <a:lnTo>
                  <a:pt x="8332" y="5477"/>
                </a:lnTo>
                <a:lnTo>
                  <a:pt x="8330" y="5282"/>
                </a:lnTo>
                <a:lnTo>
                  <a:pt x="8323" y="5089"/>
                </a:lnTo>
                <a:lnTo>
                  <a:pt x="8313" y="4896"/>
                </a:lnTo>
                <a:lnTo>
                  <a:pt x="8297" y="4706"/>
                </a:lnTo>
                <a:lnTo>
                  <a:pt x="8279" y="4515"/>
                </a:lnTo>
                <a:lnTo>
                  <a:pt x="8255" y="4327"/>
                </a:lnTo>
                <a:lnTo>
                  <a:pt x="8228" y="4139"/>
                </a:lnTo>
                <a:lnTo>
                  <a:pt x="8197" y="3953"/>
                </a:lnTo>
                <a:lnTo>
                  <a:pt x="8163" y="3768"/>
                </a:lnTo>
                <a:lnTo>
                  <a:pt x="8123" y="3584"/>
                </a:lnTo>
                <a:lnTo>
                  <a:pt x="8081" y="3402"/>
                </a:lnTo>
                <a:lnTo>
                  <a:pt x="8033" y="3223"/>
                </a:lnTo>
                <a:lnTo>
                  <a:pt x="7982" y="3044"/>
                </a:lnTo>
                <a:lnTo>
                  <a:pt x="7929" y="2866"/>
                </a:lnTo>
                <a:lnTo>
                  <a:pt x="7870" y="2690"/>
                </a:lnTo>
                <a:lnTo>
                  <a:pt x="7809" y="2516"/>
                </a:lnTo>
                <a:lnTo>
                  <a:pt x="7744" y="2344"/>
                </a:lnTo>
                <a:lnTo>
                  <a:pt x="7675" y="2173"/>
                </a:lnTo>
                <a:lnTo>
                  <a:pt x="7603" y="2005"/>
                </a:lnTo>
                <a:lnTo>
                  <a:pt x="7527" y="1838"/>
                </a:lnTo>
                <a:lnTo>
                  <a:pt x="7447" y="1674"/>
                </a:lnTo>
                <a:lnTo>
                  <a:pt x="7365" y="1511"/>
                </a:lnTo>
                <a:lnTo>
                  <a:pt x="7279" y="1349"/>
                </a:lnTo>
                <a:lnTo>
                  <a:pt x="7191" y="1191"/>
                </a:lnTo>
                <a:lnTo>
                  <a:pt x="7098" y="1034"/>
                </a:lnTo>
                <a:lnTo>
                  <a:pt x="7002" y="880"/>
                </a:lnTo>
                <a:lnTo>
                  <a:pt x="6904" y="727"/>
                </a:lnTo>
                <a:lnTo>
                  <a:pt x="6801" y="577"/>
                </a:lnTo>
                <a:lnTo>
                  <a:pt x="6696" y="429"/>
                </a:lnTo>
                <a:lnTo>
                  <a:pt x="6589" y="283"/>
                </a:lnTo>
                <a:lnTo>
                  <a:pt x="6477" y="140"/>
                </a:lnTo>
                <a:lnTo>
                  <a:pt x="6364" y="0"/>
                </a:lnTo>
                <a:lnTo>
                  <a:pt x="4983" y="822"/>
                </a:lnTo>
                <a:lnTo>
                  <a:pt x="4871" y="891"/>
                </a:lnTo>
                <a:lnTo>
                  <a:pt x="4760" y="961"/>
                </a:lnTo>
                <a:lnTo>
                  <a:pt x="4649" y="1033"/>
                </a:lnTo>
                <a:lnTo>
                  <a:pt x="4539" y="1105"/>
                </a:lnTo>
                <a:lnTo>
                  <a:pt x="4430" y="1177"/>
                </a:lnTo>
                <a:lnTo>
                  <a:pt x="4321" y="1251"/>
                </a:lnTo>
                <a:lnTo>
                  <a:pt x="4212" y="1326"/>
                </a:lnTo>
                <a:lnTo>
                  <a:pt x="4105" y="1402"/>
                </a:lnTo>
                <a:lnTo>
                  <a:pt x="3998" y="1479"/>
                </a:lnTo>
                <a:lnTo>
                  <a:pt x="3892" y="1555"/>
                </a:lnTo>
                <a:lnTo>
                  <a:pt x="3788" y="1634"/>
                </a:lnTo>
                <a:lnTo>
                  <a:pt x="3683" y="1712"/>
                </a:lnTo>
                <a:lnTo>
                  <a:pt x="3580" y="1792"/>
                </a:lnTo>
                <a:lnTo>
                  <a:pt x="3477" y="1872"/>
                </a:lnTo>
                <a:lnTo>
                  <a:pt x="3376" y="1954"/>
                </a:lnTo>
                <a:lnTo>
                  <a:pt x="3275" y="20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94771" tIns="97385" rIns="194771" bIns="97385" numCol="1" anchor="t" anchorCtr="0" compatLnSpc="1">
            <a:prstTxWarp prst="textNoShape">
              <a:avLst/>
            </a:prstTxWarp>
          </a:bodyPr>
          <a:lstStyle/>
          <a:p>
            <a:endParaRPr lang="en-US" sz="3835"/>
          </a:p>
        </p:txBody>
      </p:sp>
      <p:sp>
        <p:nvSpPr>
          <p:cNvPr id="10" name="Freeform 6">
            <a:extLst>
              <a:ext uri="{FF2B5EF4-FFF2-40B4-BE49-F238E27FC236}">
                <a16:creationId xmlns:a16="http://schemas.microsoft.com/office/drawing/2014/main" id="{027AE2CC-83CA-A6C9-B289-AAD8077E1733}"/>
              </a:ext>
            </a:extLst>
          </p:cNvPr>
          <p:cNvSpPr>
            <a:spLocks/>
          </p:cNvSpPr>
          <p:nvPr/>
        </p:nvSpPr>
        <p:spPr bwMode="auto">
          <a:xfrm rot="2700000">
            <a:off x="4431604" y="1692649"/>
            <a:ext cx="1901595" cy="2700948"/>
          </a:xfrm>
          <a:custGeom>
            <a:avLst/>
            <a:gdLst>
              <a:gd name="T0" fmla="*/ 4440 w 8523"/>
              <a:gd name="T1" fmla="*/ 10867 h 12112"/>
              <a:gd name="T2" fmla="*/ 5275 w 8523"/>
              <a:gd name="T3" fmla="*/ 10206 h 12112"/>
              <a:gd name="T4" fmla="*/ 5428 w 8523"/>
              <a:gd name="T5" fmla="*/ 9989 h 12112"/>
              <a:gd name="T6" fmla="*/ 5467 w 8523"/>
              <a:gd name="T7" fmla="*/ 9827 h 12112"/>
              <a:gd name="T8" fmla="*/ 5421 w 8523"/>
              <a:gd name="T9" fmla="*/ 9673 h 12112"/>
              <a:gd name="T10" fmla="*/ 5257 w 8523"/>
              <a:gd name="T11" fmla="*/ 9543 h 12112"/>
              <a:gd name="T12" fmla="*/ 5063 w 8523"/>
              <a:gd name="T13" fmla="*/ 9461 h 12112"/>
              <a:gd name="T14" fmla="*/ 4721 w 8523"/>
              <a:gd name="T15" fmla="*/ 9314 h 12112"/>
              <a:gd name="T16" fmla="*/ 4545 w 8523"/>
              <a:gd name="T17" fmla="*/ 9238 h 12112"/>
              <a:gd name="T18" fmla="*/ 4308 w 8523"/>
              <a:gd name="T19" fmla="*/ 9096 h 12112"/>
              <a:gd name="T20" fmla="*/ 4018 w 8523"/>
              <a:gd name="T21" fmla="*/ 8647 h 12112"/>
              <a:gd name="T22" fmla="*/ 3961 w 8523"/>
              <a:gd name="T23" fmla="*/ 8053 h 12112"/>
              <a:gd name="T24" fmla="*/ 4145 w 8523"/>
              <a:gd name="T25" fmla="*/ 7460 h 12112"/>
              <a:gd name="T26" fmla="*/ 4449 w 8523"/>
              <a:gd name="T27" fmla="*/ 7051 h 12112"/>
              <a:gd name="T28" fmla="*/ 4840 w 8523"/>
              <a:gd name="T29" fmla="*/ 6790 h 12112"/>
              <a:gd name="T30" fmla="*/ 5268 w 8523"/>
              <a:gd name="T31" fmla="*/ 6710 h 12112"/>
              <a:gd name="T32" fmla="*/ 5550 w 8523"/>
              <a:gd name="T33" fmla="*/ 6772 h 12112"/>
              <a:gd name="T34" fmla="*/ 5808 w 8523"/>
              <a:gd name="T35" fmla="*/ 6947 h 12112"/>
              <a:gd name="T36" fmla="*/ 6234 w 8523"/>
              <a:gd name="T37" fmla="*/ 7393 h 12112"/>
              <a:gd name="T38" fmla="*/ 6642 w 8523"/>
              <a:gd name="T39" fmla="*/ 7905 h 12112"/>
              <a:gd name="T40" fmla="*/ 6884 w 8523"/>
              <a:gd name="T41" fmla="*/ 8075 h 12112"/>
              <a:gd name="T42" fmla="*/ 7128 w 8523"/>
              <a:gd name="T43" fmla="*/ 8119 h 12112"/>
              <a:gd name="T44" fmla="*/ 7431 w 8523"/>
              <a:gd name="T45" fmla="*/ 7996 h 12112"/>
              <a:gd name="T46" fmla="*/ 7879 w 8523"/>
              <a:gd name="T47" fmla="*/ 7443 h 12112"/>
              <a:gd name="T48" fmla="*/ 8468 w 8523"/>
              <a:gd name="T49" fmla="*/ 6577 h 12112"/>
              <a:gd name="T50" fmla="*/ 7729 w 8523"/>
              <a:gd name="T51" fmla="*/ 5962 h 12112"/>
              <a:gd name="T52" fmla="*/ 7049 w 8523"/>
              <a:gd name="T53" fmla="*/ 5447 h 12112"/>
              <a:gd name="T54" fmla="*/ 6854 w 8523"/>
              <a:gd name="T55" fmla="*/ 5162 h 12112"/>
              <a:gd name="T56" fmla="*/ 6804 w 8523"/>
              <a:gd name="T57" fmla="*/ 4915 h 12112"/>
              <a:gd name="T58" fmla="*/ 6841 w 8523"/>
              <a:gd name="T59" fmla="*/ 4677 h 12112"/>
              <a:gd name="T60" fmla="*/ 6959 w 8523"/>
              <a:gd name="T61" fmla="*/ 4452 h 12112"/>
              <a:gd name="T62" fmla="*/ 7151 w 8523"/>
              <a:gd name="T63" fmla="*/ 4249 h 12112"/>
              <a:gd name="T64" fmla="*/ 7782 w 8523"/>
              <a:gd name="T65" fmla="*/ 3741 h 12112"/>
              <a:gd name="T66" fmla="*/ 8111 w 8523"/>
              <a:gd name="T67" fmla="*/ 3389 h 12112"/>
              <a:gd name="T68" fmla="*/ 8207 w 8523"/>
              <a:gd name="T69" fmla="*/ 3159 h 12112"/>
              <a:gd name="T70" fmla="*/ 8202 w 8523"/>
              <a:gd name="T71" fmla="*/ 2888 h 12112"/>
              <a:gd name="T72" fmla="*/ 8083 w 8523"/>
              <a:gd name="T73" fmla="*/ 2596 h 12112"/>
              <a:gd name="T74" fmla="*/ 7859 w 8523"/>
              <a:gd name="T75" fmla="*/ 2329 h 12112"/>
              <a:gd name="T76" fmla="*/ 7543 w 8523"/>
              <a:gd name="T77" fmla="*/ 2115 h 12112"/>
              <a:gd name="T78" fmla="*/ 7195 w 8523"/>
              <a:gd name="T79" fmla="*/ 1990 h 12112"/>
              <a:gd name="T80" fmla="*/ 6847 w 8523"/>
              <a:gd name="T81" fmla="*/ 1954 h 12112"/>
              <a:gd name="T82" fmla="*/ 6506 w 8523"/>
              <a:gd name="T83" fmla="*/ 2015 h 12112"/>
              <a:gd name="T84" fmla="*/ 6235 w 8523"/>
              <a:gd name="T85" fmla="*/ 2165 h 12112"/>
              <a:gd name="T86" fmla="*/ 6057 w 8523"/>
              <a:gd name="T87" fmla="*/ 2394 h 12112"/>
              <a:gd name="T88" fmla="*/ 5927 w 8523"/>
              <a:gd name="T89" fmla="*/ 2693 h 12112"/>
              <a:gd name="T90" fmla="*/ 5718 w 8523"/>
              <a:gd name="T91" fmla="*/ 3181 h 12112"/>
              <a:gd name="T92" fmla="*/ 5599 w 8523"/>
              <a:gd name="T93" fmla="*/ 3341 h 12112"/>
              <a:gd name="T94" fmla="*/ 5445 w 8523"/>
              <a:gd name="T95" fmla="*/ 3438 h 12112"/>
              <a:gd name="T96" fmla="*/ 5262 w 8523"/>
              <a:gd name="T97" fmla="*/ 3467 h 12112"/>
              <a:gd name="T98" fmla="*/ 5063 w 8523"/>
              <a:gd name="T99" fmla="*/ 3422 h 12112"/>
              <a:gd name="T100" fmla="*/ 4866 w 8523"/>
              <a:gd name="T101" fmla="*/ 3306 h 12112"/>
              <a:gd name="T102" fmla="*/ 4574 w 8523"/>
              <a:gd name="T103" fmla="*/ 2999 h 12112"/>
              <a:gd name="T104" fmla="*/ 3779 w 8523"/>
              <a:gd name="T105" fmla="*/ 1923 h 12112"/>
              <a:gd name="T106" fmla="*/ 2008 w 8523"/>
              <a:gd name="T107" fmla="*/ 614 h 12112"/>
              <a:gd name="T108" fmla="*/ 867 w 8523"/>
              <a:gd name="T109" fmla="*/ 2370 h 12112"/>
              <a:gd name="T110" fmla="*/ 179 w 8523"/>
              <a:gd name="T111" fmla="*/ 4385 h 12112"/>
              <a:gd name="T112" fmla="*/ 11 w 8523"/>
              <a:gd name="T113" fmla="*/ 6571 h 12112"/>
              <a:gd name="T114" fmla="*/ 369 w 8523"/>
              <a:gd name="T115" fmla="*/ 8639 h 12112"/>
              <a:gd name="T116" fmla="*/ 1190 w 8523"/>
              <a:gd name="T117" fmla="*/ 10507 h 12112"/>
              <a:gd name="T118" fmla="*/ 2410 w 8523"/>
              <a:gd name="T119" fmla="*/ 12112 h 12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8523" h="12112">
                <a:moveTo>
                  <a:pt x="3448" y="11527"/>
                </a:moveTo>
                <a:lnTo>
                  <a:pt x="3560" y="11458"/>
                </a:lnTo>
                <a:lnTo>
                  <a:pt x="3672" y="11387"/>
                </a:lnTo>
                <a:lnTo>
                  <a:pt x="3784" y="11316"/>
                </a:lnTo>
                <a:lnTo>
                  <a:pt x="3895" y="11242"/>
                </a:lnTo>
                <a:lnTo>
                  <a:pt x="4005" y="11169"/>
                </a:lnTo>
                <a:lnTo>
                  <a:pt x="4115" y="11095"/>
                </a:lnTo>
                <a:lnTo>
                  <a:pt x="4224" y="11019"/>
                </a:lnTo>
                <a:lnTo>
                  <a:pt x="4332" y="10943"/>
                </a:lnTo>
                <a:lnTo>
                  <a:pt x="4440" y="10867"/>
                </a:lnTo>
                <a:lnTo>
                  <a:pt x="4546" y="10788"/>
                </a:lnTo>
                <a:lnTo>
                  <a:pt x="4652" y="10709"/>
                </a:lnTo>
                <a:lnTo>
                  <a:pt x="4757" y="10631"/>
                </a:lnTo>
                <a:lnTo>
                  <a:pt x="4861" y="10550"/>
                </a:lnTo>
                <a:lnTo>
                  <a:pt x="4965" y="10469"/>
                </a:lnTo>
                <a:lnTo>
                  <a:pt x="5067" y="10387"/>
                </a:lnTo>
                <a:lnTo>
                  <a:pt x="5169" y="10304"/>
                </a:lnTo>
                <a:lnTo>
                  <a:pt x="5207" y="10272"/>
                </a:lnTo>
                <a:lnTo>
                  <a:pt x="5242" y="10240"/>
                </a:lnTo>
                <a:lnTo>
                  <a:pt x="5275" y="10206"/>
                </a:lnTo>
                <a:lnTo>
                  <a:pt x="5306" y="10173"/>
                </a:lnTo>
                <a:lnTo>
                  <a:pt x="5334" y="10139"/>
                </a:lnTo>
                <a:lnTo>
                  <a:pt x="5360" y="10106"/>
                </a:lnTo>
                <a:lnTo>
                  <a:pt x="5372" y="10089"/>
                </a:lnTo>
                <a:lnTo>
                  <a:pt x="5383" y="10073"/>
                </a:lnTo>
                <a:lnTo>
                  <a:pt x="5393" y="10055"/>
                </a:lnTo>
                <a:lnTo>
                  <a:pt x="5403" y="10038"/>
                </a:lnTo>
                <a:lnTo>
                  <a:pt x="5412" y="10022"/>
                </a:lnTo>
                <a:lnTo>
                  <a:pt x="5420" y="10005"/>
                </a:lnTo>
                <a:lnTo>
                  <a:pt x="5428" y="9989"/>
                </a:lnTo>
                <a:lnTo>
                  <a:pt x="5435" y="9971"/>
                </a:lnTo>
                <a:lnTo>
                  <a:pt x="5442" y="9955"/>
                </a:lnTo>
                <a:lnTo>
                  <a:pt x="5447" y="9939"/>
                </a:lnTo>
                <a:lnTo>
                  <a:pt x="5452" y="9923"/>
                </a:lnTo>
                <a:lnTo>
                  <a:pt x="5456" y="9906"/>
                </a:lnTo>
                <a:lnTo>
                  <a:pt x="5460" y="9891"/>
                </a:lnTo>
                <a:lnTo>
                  <a:pt x="5462" y="9874"/>
                </a:lnTo>
                <a:lnTo>
                  <a:pt x="5465" y="9858"/>
                </a:lnTo>
                <a:lnTo>
                  <a:pt x="5466" y="9843"/>
                </a:lnTo>
                <a:lnTo>
                  <a:pt x="5467" y="9827"/>
                </a:lnTo>
                <a:lnTo>
                  <a:pt x="5466" y="9812"/>
                </a:lnTo>
                <a:lnTo>
                  <a:pt x="5465" y="9797"/>
                </a:lnTo>
                <a:lnTo>
                  <a:pt x="5463" y="9782"/>
                </a:lnTo>
                <a:lnTo>
                  <a:pt x="5461" y="9770"/>
                </a:lnTo>
                <a:lnTo>
                  <a:pt x="5458" y="9757"/>
                </a:lnTo>
                <a:lnTo>
                  <a:pt x="5455" y="9745"/>
                </a:lnTo>
                <a:lnTo>
                  <a:pt x="5452" y="9734"/>
                </a:lnTo>
                <a:lnTo>
                  <a:pt x="5443" y="9713"/>
                </a:lnTo>
                <a:lnTo>
                  <a:pt x="5432" y="9691"/>
                </a:lnTo>
                <a:lnTo>
                  <a:pt x="5421" y="9673"/>
                </a:lnTo>
                <a:lnTo>
                  <a:pt x="5407" y="9655"/>
                </a:lnTo>
                <a:lnTo>
                  <a:pt x="5393" y="9638"/>
                </a:lnTo>
                <a:lnTo>
                  <a:pt x="5378" y="9622"/>
                </a:lnTo>
                <a:lnTo>
                  <a:pt x="5362" y="9607"/>
                </a:lnTo>
                <a:lnTo>
                  <a:pt x="5346" y="9594"/>
                </a:lnTo>
                <a:lnTo>
                  <a:pt x="5329" y="9583"/>
                </a:lnTo>
                <a:lnTo>
                  <a:pt x="5310" y="9571"/>
                </a:lnTo>
                <a:lnTo>
                  <a:pt x="5293" y="9560"/>
                </a:lnTo>
                <a:lnTo>
                  <a:pt x="5275" y="9551"/>
                </a:lnTo>
                <a:lnTo>
                  <a:pt x="5257" y="9543"/>
                </a:lnTo>
                <a:lnTo>
                  <a:pt x="5240" y="9535"/>
                </a:lnTo>
                <a:lnTo>
                  <a:pt x="5239" y="9534"/>
                </a:lnTo>
                <a:lnTo>
                  <a:pt x="5238" y="9534"/>
                </a:lnTo>
                <a:lnTo>
                  <a:pt x="5212" y="9523"/>
                </a:lnTo>
                <a:lnTo>
                  <a:pt x="5187" y="9514"/>
                </a:lnTo>
                <a:lnTo>
                  <a:pt x="5161" y="9503"/>
                </a:lnTo>
                <a:lnTo>
                  <a:pt x="5137" y="9492"/>
                </a:lnTo>
                <a:lnTo>
                  <a:pt x="5112" y="9482"/>
                </a:lnTo>
                <a:lnTo>
                  <a:pt x="5087" y="9472"/>
                </a:lnTo>
                <a:lnTo>
                  <a:pt x="5063" y="9461"/>
                </a:lnTo>
                <a:lnTo>
                  <a:pt x="5039" y="9451"/>
                </a:lnTo>
                <a:lnTo>
                  <a:pt x="4998" y="9434"/>
                </a:lnTo>
                <a:lnTo>
                  <a:pt x="4960" y="9417"/>
                </a:lnTo>
                <a:lnTo>
                  <a:pt x="4921" y="9401"/>
                </a:lnTo>
                <a:lnTo>
                  <a:pt x="4883" y="9384"/>
                </a:lnTo>
                <a:lnTo>
                  <a:pt x="4847" y="9368"/>
                </a:lnTo>
                <a:lnTo>
                  <a:pt x="4812" y="9353"/>
                </a:lnTo>
                <a:lnTo>
                  <a:pt x="4777" y="9338"/>
                </a:lnTo>
                <a:lnTo>
                  <a:pt x="4745" y="9324"/>
                </a:lnTo>
                <a:lnTo>
                  <a:pt x="4721" y="9314"/>
                </a:lnTo>
                <a:lnTo>
                  <a:pt x="4699" y="9304"/>
                </a:lnTo>
                <a:lnTo>
                  <a:pt x="4677" y="9294"/>
                </a:lnTo>
                <a:lnTo>
                  <a:pt x="4655" y="9285"/>
                </a:lnTo>
                <a:lnTo>
                  <a:pt x="4635" y="9277"/>
                </a:lnTo>
                <a:lnTo>
                  <a:pt x="4614" y="9268"/>
                </a:lnTo>
                <a:lnTo>
                  <a:pt x="4596" y="9259"/>
                </a:lnTo>
                <a:lnTo>
                  <a:pt x="4578" y="9252"/>
                </a:lnTo>
                <a:lnTo>
                  <a:pt x="4567" y="9248"/>
                </a:lnTo>
                <a:lnTo>
                  <a:pt x="4556" y="9242"/>
                </a:lnTo>
                <a:lnTo>
                  <a:pt x="4545" y="9238"/>
                </a:lnTo>
                <a:lnTo>
                  <a:pt x="4535" y="9234"/>
                </a:lnTo>
                <a:lnTo>
                  <a:pt x="4535" y="9234"/>
                </a:lnTo>
                <a:lnTo>
                  <a:pt x="4533" y="9233"/>
                </a:lnTo>
                <a:lnTo>
                  <a:pt x="4532" y="9233"/>
                </a:lnTo>
                <a:lnTo>
                  <a:pt x="4532" y="9233"/>
                </a:lnTo>
                <a:lnTo>
                  <a:pt x="4484" y="9211"/>
                </a:lnTo>
                <a:lnTo>
                  <a:pt x="4437" y="9186"/>
                </a:lnTo>
                <a:lnTo>
                  <a:pt x="4392" y="9158"/>
                </a:lnTo>
                <a:lnTo>
                  <a:pt x="4349" y="9128"/>
                </a:lnTo>
                <a:lnTo>
                  <a:pt x="4308" y="9096"/>
                </a:lnTo>
                <a:lnTo>
                  <a:pt x="4269" y="9060"/>
                </a:lnTo>
                <a:lnTo>
                  <a:pt x="4232" y="9022"/>
                </a:lnTo>
                <a:lnTo>
                  <a:pt x="4198" y="8983"/>
                </a:lnTo>
                <a:lnTo>
                  <a:pt x="4166" y="8940"/>
                </a:lnTo>
                <a:lnTo>
                  <a:pt x="4135" y="8895"/>
                </a:lnTo>
                <a:lnTo>
                  <a:pt x="4107" y="8849"/>
                </a:lnTo>
                <a:lnTo>
                  <a:pt x="4081" y="8802"/>
                </a:lnTo>
                <a:lnTo>
                  <a:pt x="4058" y="8751"/>
                </a:lnTo>
                <a:lnTo>
                  <a:pt x="4037" y="8700"/>
                </a:lnTo>
                <a:lnTo>
                  <a:pt x="4018" y="8647"/>
                </a:lnTo>
                <a:lnTo>
                  <a:pt x="4000" y="8593"/>
                </a:lnTo>
                <a:lnTo>
                  <a:pt x="3986" y="8537"/>
                </a:lnTo>
                <a:lnTo>
                  <a:pt x="3975" y="8480"/>
                </a:lnTo>
                <a:lnTo>
                  <a:pt x="3965" y="8421"/>
                </a:lnTo>
                <a:lnTo>
                  <a:pt x="3958" y="8362"/>
                </a:lnTo>
                <a:lnTo>
                  <a:pt x="3954" y="8302"/>
                </a:lnTo>
                <a:lnTo>
                  <a:pt x="3952" y="8240"/>
                </a:lnTo>
                <a:lnTo>
                  <a:pt x="3952" y="8179"/>
                </a:lnTo>
                <a:lnTo>
                  <a:pt x="3955" y="8117"/>
                </a:lnTo>
                <a:lnTo>
                  <a:pt x="3961" y="8053"/>
                </a:lnTo>
                <a:lnTo>
                  <a:pt x="3969" y="7990"/>
                </a:lnTo>
                <a:lnTo>
                  <a:pt x="3980" y="7926"/>
                </a:lnTo>
                <a:lnTo>
                  <a:pt x="3994" y="7862"/>
                </a:lnTo>
                <a:lnTo>
                  <a:pt x="4010" y="7798"/>
                </a:lnTo>
                <a:lnTo>
                  <a:pt x="4030" y="7734"/>
                </a:lnTo>
                <a:lnTo>
                  <a:pt x="4051" y="7670"/>
                </a:lnTo>
                <a:lnTo>
                  <a:pt x="4076" y="7606"/>
                </a:lnTo>
                <a:lnTo>
                  <a:pt x="4098" y="7556"/>
                </a:lnTo>
                <a:lnTo>
                  <a:pt x="4120" y="7508"/>
                </a:lnTo>
                <a:lnTo>
                  <a:pt x="4145" y="7460"/>
                </a:lnTo>
                <a:lnTo>
                  <a:pt x="4170" y="7413"/>
                </a:lnTo>
                <a:lnTo>
                  <a:pt x="4197" y="7368"/>
                </a:lnTo>
                <a:lnTo>
                  <a:pt x="4225" y="7324"/>
                </a:lnTo>
                <a:lnTo>
                  <a:pt x="4254" y="7281"/>
                </a:lnTo>
                <a:lnTo>
                  <a:pt x="4284" y="7240"/>
                </a:lnTo>
                <a:lnTo>
                  <a:pt x="4316" y="7199"/>
                </a:lnTo>
                <a:lnTo>
                  <a:pt x="4347" y="7160"/>
                </a:lnTo>
                <a:lnTo>
                  <a:pt x="4380" y="7122"/>
                </a:lnTo>
                <a:lnTo>
                  <a:pt x="4415" y="7086"/>
                </a:lnTo>
                <a:lnTo>
                  <a:pt x="4449" y="7051"/>
                </a:lnTo>
                <a:lnTo>
                  <a:pt x="4486" y="7018"/>
                </a:lnTo>
                <a:lnTo>
                  <a:pt x="4523" y="6987"/>
                </a:lnTo>
                <a:lnTo>
                  <a:pt x="4559" y="6955"/>
                </a:lnTo>
                <a:lnTo>
                  <a:pt x="4598" y="6927"/>
                </a:lnTo>
                <a:lnTo>
                  <a:pt x="4637" y="6901"/>
                </a:lnTo>
                <a:lnTo>
                  <a:pt x="4676" y="6875"/>
                </a:lnTo>
                <a:lnTo>
                  <a:pt x="4716" y="6851"/>
                </a:lnTo>
                <a:lnTo>
                  <a:pt x="4757" y="6828"/>
                </a:lnTo>
                <a:lnTo>
                  <a:pt x="4798" y="6809"/>
                </a:lnTo>
                <a:lnTo>
                  <a:pt x="4840" y="6790"/>
                </a:lnTo>
                <a:lnTo>
                  <a:pt x="4881" y="6773"/>
                </a:lnTo>
                <a:lnTo>
                  <a:pt x="4924" y="6758"/>
                </a:lnTo>
                <a:lnTo>
                  <a:pt x="4966" y="6745"/>
                </a:lnTo>
                <a:lnTo>
                  <a:pt x="5009" y="6735"/>
                </a:lnTo>
                <a:lnTo>
                  <a:pt x="5052" y="6725"/>
                </a:lnTo>
                <a:lnTo>
                  <a:pt x="5096" y="6717"/>
                </a:lnTo>
                <a:lnTo>
                  <a:pt x="5140" y="6713"/>
                </a:lnTo>
                <a:lnTo>
                  <a:pt x="5183" y="6710"/>
                </a:lnTo>
                <a:lnTo>
                  <a:pt x="5227" y="6709"/>
                </a:lnTo>
                <a:lnTo>
                  <a:pt x="5268" y="6710"/>
                </a:lnTo>
                <a:lnTo>
                  <a:pt x="5310" y="6712"/>
                </a:lnTo>
                <a:lnTo>
                  <a:pt x="5350" y="6717"/>
                </a:lnTo>
                <a:lnTo>
                  <a:pt x="5391" y="6724"/>
                </a:lnTo>
                <a:lnTo>
                  <a:pt x="5431" y="6732"/>
                </a:lnTo>
                <a:lnTo>
                  <a:pt x="5470" y="6743"/>
                </a:lnTo>
                <a:lnTo>
                  <a:pt x="5509" y="6756"/>
                </a:lnTo>
                <a:lnTo>
                  <a:pt x="5548" y="6771"/>
                </a:lnTo>
                <a:lnTo>
                  <a:pt x="5549" y="6771"/>
                </a:lnTo>
                <a:lnTo>
                  <a:pt x="5549" y="6771"/>
                </a:lnTo>
                <a:lnTo>
                  <a:pt x="5550" y="6772"/>
                </a:lnTo>
                <a:lnTo>
                  <a:pt x="5550" y="6772"/>
                </a:lnTo>
                <a:lnTo>
                  <a:pt x="5576" y="6783"/>
                </a:lnTo>
                <a:lnTo>
                  <a:pt x="5602" y="6797"/>
                </a:lnTo>
                <a:lnTo>
                  <a:pt x="5630" y="6813"/>
                </a:lnTo>
                <a:lnTo>
                  <a:pt x="5658" y="6831"/>
                </a:lnTo>
                <a:lnTo>
                  <a:pt x="5687" y="6851"/>
                </a:lnTo>
                <a:lnTo>
                  <a:pt x="5716" y="6873"/>
                </a:lnTo>
                <a:lnTo>
                  <a:pt x="5746" y="6895"/>
                </a:lnTo>
                <a:lnTo>
                  <a:pt x="5776" y="6921"/>
                </a:lnTo>
                <a:lnTo>
                  <a:pt x="5808" y="6947"/>
                </a:lnTo>
                <a:lnTo>
                  <a:pt x="5840" y="6975"/>
                </a:lnTo>
                <a:lnTo>
                  <a:pt x="5871" y="7004"/>
                </a:lnTo>
                <a:lnTo>
                  <a:pt x="5904" y="7035"/>
                </a:lnTo>
                <a:lnTo>
                  <a:pt x="5936" y="7067"/>
                </a:lnTo>
                <a:lnTo>
                  <a:pt x="5969" y="7100"/>
                </a:lnTo>
                <a:lnTo>
                  <a:pt x="6002" y="7134"/>
                </a:lnTo>
                <a:lnTo>
                  <a:pt x="6035" y="7169"/>
                </a:lnTo>
                <a:lnTo>
                  <a:pt x="6102" y="7241"/>
                </a:lnTo>
                <a:lnTo>
                  <a:pt x="6168" y="7316"/>
                </a:lnTo>
                <a:lnTo>
                  <a:pt x="6234" y="7393"/>
                </a:lnTo>
                <a:lnTo>
                  <a:pt x="6297" y="7470"/>
                </a:lnTo>
                <a:lnTo>
                  <a:pt x="6360" y="7549"/>
                </a:lnTo>
                <a:lnTo>
                  <a:pt x="6420" y="7627"/>
                </a:lnTo>
                <a:lnTo>
                  <a:pt x="6479" y="7704"/>
                </a:lnTo>
                <a:lnTo>
                  <a:pt x="6535" y="7779"/>
                </a:lnTo>
                <a:lnTo>
                  <a:pt x="6555" y="7806"/>
                </a:lnTo>
                <a:lnTo>
                  <a:pt x="6576" y="7833"/>
                </a:lnTo>
                <a:lnTo>
                  <a:pt x="6597" y="7858"/>
                </a:lnTo>
                <a:lnTo>
                  <a:pt x="6619" y="7883"/>
                </a:lnTo>
                <a:lnTo>
                  <a:pt x="6642" y="7905"/>
                </a:lnTo>
                <a:lnTo>
                  <a:pt x="6664" y="7928"/>
                </a:lnTo>
                <a:lnTo>
                  <a:pt x="6688" y="7949"/>
                </a:lnTo>
                <a:lnTo>
                  <a:pt x="6712" y="7969"/>
                </a:lnTo>
                <a:lnTo>
                  <a:pt x="6735" y="7987"/>
                </a:lnTo>
                <a:lnTo>
                  <a:pt x="6759" y="8005"/>
                </a:lnTo>
                <a:lnTo>
                  <a:pt x="6784" y="8021"/>
                </a:lnTo>
                <a:lnTo>
                  <a:pt x="6809" y="8037"/>
                </a:lnTo>
                <a:lnTo>
                  <a:pt x="6834" y="8050"/>
                </a:lnTo>
                <a:lnTo>
                  <a:pt x="6858" y="8063"/>
                </a:lnTo>
                <a:lnTo>
                  <a:pt x="6884" y="8075"/>
                </a:lnTo>
                <a:lnTo>
                  <a:pt x="6909" y="8085"/>
                </a:lnTo>
                <a:lnTo>
                  <a:pt x="6933" y="8093"/>
                </a:lnTo>
                <a:lnTo>
                  <a:pt x="6956" y="8100"/>
                </a:lnTo>
                <a:lnTo>
                  <a:pt x="6979" y="8106"/>
                </a:lnTo>
                <a:lnTo>
                  <a:pt x="7003" y="8111"/>
                </a:lnTo>
                <a:lnTo>
                  <a:pt x="7026" y="8114"/>
                </a:lnTo>
                <a:lnTo>
                  <a:pt x="7049" y="8118"/>
                </a:lnTo>
                <a:lnTo>
                  <a:pt x="7073" y="8120"/>
                </a:lnTo>
                <a:lnTo>
                  <a:pt x="7096" y="8120"/>
                </a:lnTo>
                <a:lnTo>
                  <a:pt x="7128" y="8119"/>
                </a:lnTo>
                <a:lnTo>
                  <a:pt x="7160" y="8116"/>
                </a:lnTo>
                <a:lnTo>
                  <a:pt x="7192" y="8110"/>
                </a:lnTo>
                <a:lnTo>
                  <a:pt x="7224" y="8104"/>
                </a:lnTo>
                <a:lnTo>
                  <a:pt x="7254" y="8094"/>
                </a:lnTo>
                <a:lnTo>
                  <a:pt x="7286" y="8082"/>
                </a:lnTo>
                <a:lnTo>
                  <a:pt x="7316" y="8069"/>
                </a:lnTo>
                <a:lnTo>
                  <a:pt x="7345" y="8054"/>
                </a:lnTo>
                <a:lnTo>
                  <a:pt x="7374" y="8037"/>
                </a:lnTo>
                <a:lnTo>
                  <a:pt x="7403" y="8018"/>
                </a:lnTo>
                <a:lnTo>
                  <a:pt x="7431" y="7996"/>
                </a:lnTo>
                <a:lnTo>
                  <a:pt x="7459" y="7972"/>
                </a:lnTo>
                <a:lnTo>
                  <a:pt x="7486" y="7947"/>
                </a:lnTo>
                <a:lnTo>
                  <a:pt x="7513" y="7921"/>
                </a:lnTo>
                <a:lnTo>
                  <a:pt x="7539" y="7891"/>
                </a:lnTo>
                <a:lnTo>
                  <a:pt x="7564" y="7860"/>
                </a:lnTo>
                <a:lnTo>
                  <a:pt x="7628" y="7778"/>
                </a:lnTo>
                <a:lnTo>
                  <a:pt x="7691" y="7695"/>
                </a:lnTo>
                <a:lnTo>
                  <a:pt x="7755" y="7611"/>
                </a:lnTo>
                <a:lnTo>
                  <a:pt x="7818" y="7527"/>
                </a:lnTo>
                <a:lnTo>
                  <a:pt x="7879" y="7443"/>
                </a:lnTo>
                <a:lnTo>
                  <a:pt x="7941" y="7358"/>
                </a:lnTo>
                <a:lnTo>
                  <a:pt x="8001" y="7273"/>
                </a:lnTo>
                <a:lnTo>
                  <a:pt x="8061" y="7188"/>
                </a:lnTo>
                <a:lnTo>
                  <a:pt x="8122" y="7102"/>
                </a:lnTo>
                <a:lnTo>
                  <a:pt x="8181" y="7015"/>
                </a:lnTo>
                <a:lnTo>
                  <a:pt x="8239" y="6929"/>
                </a:lnTo>
                <a:lnTo>
                  <a:pt x="8298" y="6841"/>
                </a:lnTo>
                <a:lnTo>
                  <a:pt x="8355" y="6754"/>
                </a:lnTo>
                <a:lnTo>
                  <a:pt x="8411" y="6666"/>
                </a:lnTo>
                <a:lnTo>
                  <a:pt x="8468" y="6577"/>
                </a:lnTo>
                <a:lnTo>
                  <a:pt x="8523" y="6489"/>
                </a:lnTo>
                <a:lnTo>
                  <a:pt x="8434" y="6433"/>
                </a:lnTo>
                <a:lnTo>
                  <a:pt x="8344" y="6376"/>
                </a:lnTo>
                <a:lnTo>
                  <a:pt x="8254" y="6319"/>
                </a:lnTo>
                <a:lnTo>
                  <a:pt x="8166" y="6261"/>
                </a:lnTo>
                <a:lnTo>
                  <a:pt x="8078" y="6203"/>
                </a:lnTo>
                <a:lnTo>
                  <a:pt x="7990" y="6143"/>
                </a:lnTo>
                <a:lnTo>
                  <a:pt x="7903" y="6084"/>
                </a:lnTo>
                <a:lnTo>
                  <a:pt x="7815" y="6024"/>
                </a:lnTo>
                <a:lnTo>
                  <a:pt x="7729" y="5962"/>
                </a:lnTo>
                <a:lnTo>
                  <a:pt x="7643" y="5901"/>
                </a:lnTo>
                <a:lnTo>
                  <a:pt x="7556" y="5840"/>
                </a:lnTo>
                <a:lnTo>
                  <a:pt x="7471" y="5777"/>
                </a:lnTo>
                <a:lnTo>
                  <a:pt x="7387" y="5714"/>
                </a:lnTo>
                <a:lnTo>
                  <a:pt x="7303" y="5650"/>
                </a:lnTo>
                <a:lnTo>
                  <a:pt x="7219" y="5586"/>
                </a:lnTo>
                <a:lnTo>
                  <a:pt x="7136" y="5522"/>
                </a:lnTo>
                <a:lnTo>
                  <a:pt x="7105" y="5498"/>
                </a:lnTo>
                <a:lnTo>
                  <a:pt x="7077" y="5472"/>
                </a:lnTo>
                <a:lnTo>
                  <a:pt x="7049" y="5447"/>
                </a:lnTo>
                <a:lnTo>
                  <a:pt x="7023" y="5421"/>
                </a:lnTo>
                <a:lnTo>
                  <a:pt x="7000" y="5395"/>
                </a:lnTo>
                <a:lnTo>
                  <a:pt x="6976" y="5367"/>
                </a:lnTo>
                <a:lnTo>
                  <a:pt x="6954" y="5339"/>
                </a:lnTo>
                <a:lnTo>
                  <a:pt x="6934" y="5311"/>
                </a:lnTo>
                <a:lnTo>
                  <a:pt x="6916" y="5282"/>
                </a:lnTo>
                <a:lnTo>
                  <a:pt x="6897" y="5253"/>
                </a:lnTo>
                <a:lnTo>
                  <a:pt x="6882" y="5222"/>
                </a:lnTo>
                <a:lnTo>
                  <a:pt x="6867" y="5192"/>
                </a:lnTo>
                <a:lnTo>
                  <a:pt x="6854" y="5162"/>
                </a:lnTo>
                <a:lnTo>
                  <a:pt x="6842" y="5131"/>
                </a:lnTo>
                <a:lnTo>
                  <a:pt x="6833" y="5100"/>
                </a:lnTo>
                <a:lnTo>
                  <a:pt x="6824" y="5068"/>
                </a:lnTo>
                <a:lnTo>
                  <a:pt x="6820" y="5047"/>
                </a:lnTo>
                <a:lnTo>
                  <a:pt x="6815" y="5025"/>
                </a:lnTo>
                <a:lnTo>
                  <a:pt x="6811" y="5003"/>
                </a:lnTo>
                <a:lnTo>
                  <a:pt x="6809" y="4981"/>
                </a:lnTo>
                <a:lnTo>
                  <a:pt x="6807" y="4960"/>
                </a:lnTo>
                <a:lnTo>
                  <a:pt x="6804" y="4937"/>
                </a:lnTo>
                <a:lnTo>
                  <a:pt x="6804" y="4915"/>
                </a:lnTo>
                <a:lnTo>
                  <a:pt x="6804" y="4893"/>
                </a:lnTo>
                <a:lnTo>
                  <a:pt x="6806" y="4869"/>
                </a:lnTo>
                <a:lnTo>
                  <a:pt x="6807" y="4844"/>
                </a:lnTo>
                <a:lnTo>
                  <a:pt x="6809" y="4821"/>
                </a:lnTo>
                <a:lnTo>
                  <a:pt x="6813" y="4796"/>
                </a:lnTo>
                <a:lnTo>
                  <a:pt x="6816" y="4772"/>
                </a:lnTo>
                <a:lnTo>
                  <a:pt x="6822" y="4748"/>
                </a:lnTo>
                <a:lnTo>
                  <a:pt x="6827" y="4725"/>
                </a:lnTo>
                <a:lnTo>
                  <a:pt x="6835" y="4701"/>
                </a:lnTo>
                <a:lnTo>
                  <a:pt x="6841" y="4677"/>
                </a:lnTo>
                <a:lnTo>
                  <a:pt x="6850" y="4655"/>
                </a:lnTo>
                <a:lnTo>
                  <a:pt x="6858" y="4631"/>
                </a:lnTo>
                <a:lnTo>
                  <a:pt x="6868" y="4608"/>
                </a:lnTo>
                <a:lnTo>
                  <a:pt x="6879" y="4585"/>
                </a:lnTo>
                <a:lnTo>
                  <a:pt x="6891" y="4562"/>
                </a:lnTo>
                <a:lnTo>
                  <a:pt x="6903" y="4539"/>
                </a:lnTo>
                <a:lnTo>
                  <a:pt x="6916" y="4518"/>
                </a:lnTo>
                <a:lnTo>
                  <a:pt x="6930" y="4495"/>
                </a:lnTo>
                <a:lnTo>
                  <a:pt x="6944" y="4474"/>
                </a:lnTo>
                <a:lnTo>
                  <a:pt x="6959" y="4452"/>
                </a:lnTo>
                <a:lnTo>
                  <a:pt x="6975" y="4431"/>
                </a:lnTo>
                <a:lnTo>
                  <a:pt x="6991" y="4409"/>
                </a:lnTo>
                <a:lnTo>
                  <a:pt x="7008" y="4389"/>
                </a:lnTo>
                <a:lnTo>
                  <a:pt x="7027" y="4367"/>
                </a:lnTo>
                <a:lnTo>
                  <a:pt x="7046" y="4347"/>
                </a:lnTo>
                <a:lnTo>
                  <a:pt x="7066" y="4326"/>
                </a:lnTo>
                <a:lnTo>
                  <a:pt x="7085" y="4307"/>
                </a:lnTo>
                <a:lnTo>
                  <a:pt x="7107" y="4287"/>
                </a:lnTo>
                <a:lnTo>
                  <a:pt x="7128" y="4268"/>
                </a:lnTo>
                <a:lnTo>
                  <a:pt x="7151" y="4249"/>
                </a:lnTo>
                <a:lnTo>
                  <a:pt x="7173" y="4230"/>
                </a:lnTo>
                <a:lnTo>
                  <a:pt x="7197" y="4211"/>
                </a:lnTo>
                <a:lnTo>
                  <a:pt x="7222" y="4194"/>
                </a:lnTo>
                <a:lnTo>
                  <a:pt x="7310" y="4128"/>
                </a:lnTo>
                <a:lnTo>
                  <a:pt x="7398" y="4062"/>
                </a:lnTo>
                <a:lnTo>
                  <a:pt x="7481" y="3997"/>
                </a:lnTo>
                <a:lnTo>
                  <a:pt x="7562" y="3932"/>
                </a:lnTo>
                <a:lnTo>
                  <a:pt x="7640" y="3867"/>
                </a:lnTo>
                <a:lnTo>
                  <a:pt x="7713" y="3804"/>
                </a:lnTo>
                <a:lnTo>
                  <a:pt x="7782" y="3741"/>
                </a:lnTo>
                <a:lnTo>
                  <a:pt x="7847" y="3680"/>
                </a:lnTo>
                <a:lnTo>
                  <a:pt x="7907" y="3622"/>
                </a:lnTo>
                <a:lnTo>
                  <a:pt x="7962" y="3565"/>
                </a:lnTo>
                <a:lnTo>
                  <a:pt x="7988" y="3538"/>
                </a:lnTo>
                <a:lnTo>
                  <a:pt x="8012" y="3511"/>
                </a:lnTo>
                <a:lnTo>
                  <a:pt x="8035" y="3485"/>
                </a:lnTo>
                <a:lnTo>
                  <a:pt x="8056" y="3459"/>
                </a:lnTo>
                <a:lnTo>
                  <a:pt x="8076" y="3435"/>
                </a:lnTo>
                <a:lnTo>
                  <a:pt x="8095" y="3412"/>
                </a:lnTo>
                <a:lnTo>
                  <a:pt x="8111" y="3389"/>
                </a:lnTo>
                <a:lnTo>
                  <a:pt x="8126" y="3366"/>
                </a:lnTo>
                <a:lnTo>
                  <a:pt x="8139" y="3346"/>
                </a:lnTo>
                <a:lnTo>
                  <a:pt x="8151" y="3326"/>
                </a:lnTo>
                <a:lnTo>
                  <a:pt x="8161" y="3307"/>
                </a:lnTo>
                <a:lnTo>
                  <a:pt x="8169" y="3289"/>
                </a:lnTo>
                <a:lnTo>
                  <a:pt x="8179" y="3263"/>
                </a:lnTo>
                <a:lnTo>
                  <a:pt x="8188" y="3237"/>
                </a:lnTo>
                <a:lnTo>
                  <a:pt x="8195" y="3211"/>
                </a:lnTo>
                <a:lnTo>
                  <a:pt x="8202" y="3186"/>
                </a:lnTo>
                <a:lnTo>
                  <a:pt x="8207" y="3159"/>
                </a:lnTo>
                <a:lnTo>
                  <a:pt x="8211" y="3132"/>
                </a:lnTo>
                <a:lnTo>
                  <a:pt x="8215" y="3105"/>
                </a:lnTo>
                <a:lnTo>
                  <a:pt x="8217" y="3078"/>
                </a:lnTo>
                <a:lnTo>
                  <a:pt x="8218" y="3051"/>
                </a:lnTo>
                <a:lnTo>
                  <a:pt x="8218" y="3024"/>
                </a:lnTo>
                <a:lnTo>
                  <a:pt x="8217" y="2997"/>
                </a:lnTo>
                <a:lnTo>
                  <a:pt x="8215" y="2970"/>
                </a:lnTo>
                <a:lnTo>
                  <a:pt x="8211" y="2942"/>
                </a:lnTo>
                <a:lnTo>
                  <a:pt x="8207" y="2915"/>
                </a:lnTo>
                <a:lnTo>
                  <a:pt x="8202" y="2888"/>
                </a:lnTo>
                <a:lnTo>
                  <a:pt x="8196" y="2860"/>
                </a:lnTo>
                <a:lnTo>
                  <a:pt x="8188" y="2831"/>
                </a:lnTo>
                <a:lnTo>
                  <a:pt x="8179" y="2801"/>
                </a:lnTo>
                <a:lnTo>
                  <a:pt x="8168" y="2771"/>
                </a:lnTo>
                <a:lnTo>
                  <a:pt x="8157" y="2742"/>
                </a:lnTo>
                <a:lnTo>
                  <a:pt x="8144" y="2712"/>
                </a:lnTo>
                <a:lnTo>
                  <a:pt x="8130" y="2683"/>
                </a:lnTo>
                <a:lnTo>
                  <a:pt x="8115" y="2653"/>
                </a:lnTo>
                <a:lnTo>
                  <a:pt x="8100" y="2624"/>
                </a:lnTo>
                <a:lnTo>
                  <a:pt x="8083" y="2596"/>
                </a:lnTo>
                <a:lnTo>
                  <a:pt x="8065" y="2567"/>
                </a:lnTo>
                <a:lnTo>
                  <a:pt x="8046" y="2539"/>
                </a:lnTo>
                <a:lnTo>
                  <a:pt x="8026" y="2512"/>
                </a:lnTo>
                <a:lnTo>
                  <a:pt x="8004" y="2484"/>
                </a:lnTo>
                <a:lnTo>
                  <a:pt x="7983" y="2457"/>
                </a:lnTo>
                <a:lnTo>
                  <a:pt x="7960" y="2430"/>
                </a:lnTo>
                <a:lnTo>
                  <a:pt x="7935" y="2405"/>
                </a:lnTo>
                <a:lnTo>
                  <a:pt x="7910" y="2379"/>
                </a:lnTo>
                <a:lnTo>
                  <a:pt x="7884" y="2354"/>
                </a:lnTo>
                <a:lnTo>
                  <a:pt x="7859" y="2329"/>
                </a:lnTo>
                <a:lnTo>
                  <a:pt x="7830" y="2306"/>
                </a:lnTo>
                <a:lnTo>
                  <a:pt x="7801" y="2282"/>
                </a:lnTo>
                <a:lnTo>
                  <a:pt x="7772" y="2258"/>
                </a:lnTo>
                <a:lnTo>
                  <a:pt x="7742" y="2235"/>
                </a:lnTo>
                <a:lnTo>
                  <a:pt x="7711" y="2214"/>
                </a:lnTo>
                <a:lnTo>
                  <a:pt x="7679" y="2192"/>
                </a:lnTo>
                <a:lnTo>
                  <a:pt x="7646" y="2172"/>
                </a:lnTo>
                <a:lnTo>
                  <a:pt x="7613" y="2153"/>
                </a:lnTo>
                <a:lnTo>
                  <a:pt x="7579" y="2133"/>
                </a:lnTo>
                <a:lnTo>
                  <a:pt x="7543" y="2115"/>
                </a:lnTo>
                <a:lnTo>
                  <a:pt x="7508" y="2098"/>
                </a:lnTo>
                <a:lnTo>
                  <a:pt x="7471" y="2081"/>
                </a:lnTo>
                <a:lnTo>
                  <a:pt x="7433" y="2065"/>
                </a:lnTo>
                <a:lnTo>
                  <a:pt x="7400" y="2052"/>
                </a:lnTo>
                <a:lnTo>
                  <a:pt x="7367" y="2039"/>
                </a:lnTo>
                <a:lnTo>
                  <a:pt x="7332" y="2028"/>
                </a:lnTo>
                <a:lnTo>
                  <a:pt x="7299" y="2017"/>
                </a:lnTo>
                <a:lnTo>
                  <a:pt x="7264" y="2007"/>
                </a:lnTo>
                <a:lnTo>
                  <a:pt x="7230" y="1997"/>
                </a:lnTo>
                <a:lnTo>
                  <a:pt x="7195" y="1990"/>
                </a:lnTo>
                <a:lnTo>
                  <a:pt x="7160" y="1982"/>
                </a:lnTo>
                <a:lnTo>
                  <a:pt x="7126" y="1976"/>
                </a:lnTo>
                <a:lnTo>
                  <a:pt x="7090" y="1969"/>
                </a:lnTo>
                <a:lnTo>
                  <a:pt x="7056" y="1965"/>
                </a:lnTo>
                <a:lnTo>
                  <a:pt x="7021" y="1961"/>
                </a:lnTo>
                <a:lnTo>
                  <a:pt x="6987" y="1958"/>
                </a:lnTo>
                <a:lnTo>
                  <a:pt x="6952" y="1955"/>
                </a:lnTo>
                <a:lnTo>
                  <a:pt x="6918" y="1954"/>
                </a:lnTo>
                <a:lnTo>
                  <a:pt x="6884" y="1953"/>
                </a:lnTo>
                <a:lnTo>
                  <a:pt x="6847" y="1954"/>
                </a:lnTo>
                <a:lnTo>
                  <a:pt x="6810" y="1955"/>
                </a:lnTo>
                <a:lnTo>
                  <a:pt x="6774" y="1959"/>
                </a:lnTo>
                <a:lnTo>
                  <a:pt x="6739" y="1962"/>
                </a:lnTo>
                <a:lnTo>
                  <a:pt x="6703" y="1966"/>
                </a:lnTo>
                <a:lnTo>
                  <a:pt x="6669" y="1972"/>
                </a:lnTo>
                <a:lnTo>
                  <a:pt x="6635" y="1978"/>
                </a:lnTo>
                <a:lnTo>
                  <a:pt x="6602" y="1986"/>
                </a:lnTo>
                <a:lnTo>
                  <a:pt x="6569" y="1994"/>
                </a:lnTo>
                <a:lnTo>
                  <a:pt x="6537" y="2004"/>
                </a:lnTo>
                <a:lnTo>
                  <a:pt x="6506" y="2015"/>
                </a:lnTo>
                <a:lnTo>
                  <a:pt x="6474" y="2025"/>
                </a:lnTo>
                <a:lnTo>
                  <a:pt x="6445" y="2037"/>
                </a:lnTo>
                <a:lnTo>
                  <a:pt x="6416" y="2050"/>
                </a:lnTo>
                <a:lnTo>
                  <a:pt x="6387" y="2064"/>
                </a:lnTo>
                <a:lnTo>
                  <a:pt x="6360" y="2079"/>
                </a:lnTo>
                <a:lnTo>
                  <a:pt x="6333" y="2094"/>
                </a:lnTo>
                <a:lnTo>
                  <a:pt x="6307" y="2111"/>
                </a:lnTo>
                <a:lnTo>
                  <a:pt x="6282" y="2128"/>
                </a:lnTo>
                <a:lnTo>
                  <a:pt x="6257" y="2146"/>
                </a:lnTo>
                <a:lnTo>
                  <a:pt x="6235" y="2165"/>
                </a:lnTo>
                <a:lnTo>
                  <a:pt x="6212" y="2185"/>
                </a:lnTo>
                <a:lnTo>
                  <a:pt x="6191" y="2205"/>
                </a:lnTo>
                <a:lnTo>
                  <a:pt x="6170" y="2226"/>
                </a:lnTo>
                <a:lnTo>
                  <a:pt x="6151" y="2248"/>
                </a:lnTo>
                <a:lnTo>
                  <a:pt x="6132" y="2270"/>
                </a:lnTo>
                <a:lnTo>
                  <a:pt x="6115" y="2294"/>
                </a:lnTo>
                <a:lnTo>
                  <a:pt x="6099" y="2317"/>
                </a:lnTo>
                <a:lnTo>
                  <a:pt x="6084" y="2342"/>
                </a:lnTo>
                <a:lnTo>
                  <a:pt x="6070" y="2368"/>
                </a:lnTo>
                <a:lnTo>
                  <a:pt x="6057" y="2394"/>
                </a:lnTo>
                <a:lnTo>
                  <a:pt x="6045" y="2421"/>
                </a:lnTo>
                <a:lnTo>
                  <a:pt x="6036" y="2442"/>
                </a:lnTo>
                <a:lnTo>
                  <a:pt x="6026" y="2467"/>
                </a:lnTo>
                <a:lnTo>
                  <a:pt x="6015" y="2492"/>
                </a:lnTo>
                <a:lnTo>
                  <a:pt x="6003" y="2520"/>
                </a:lnTo>
                <a:lnTo>
                  <a:pt x="5991" y="2548"/>
                </a:lnTo>
                <a:lnTo>
                  <a:pt x="5978" y="2578"/>
                </a:lnTo>
                <a:lnTo>
                  <a:pt x="5964" y="2609"/>
                </a:lnTo>
                <a:lnTo>
                  <a:pt x="5950" y="2642"/>
                </a:lnTo>
                <a:lnTo>
                  <a:pt x="5927" y="2693"/>
                </a:lnTo>
                <a:lnTo>
                  <a:pt x="5904" y="2748"/>
                </a:lnTo>
                <a:lnTo>
                  <a:pt x="5879" y="2805"/>
                </a:lnTo>
                <a:lnTo>
                  <a:pt x="5853" y="2865"/>
                </a:lnTo>
                <a:lnTo>
                  <a:pt x="5827" y="2926"/>
                </a:lnTo>
                <a:lnTo>
                  <a:pt x="5800" y="2989"/>
                </a:lnTo>
                <a:lnTo>
                  <a:pt x="5772" y="3055"/>
                </a:lnTo>
                <a:lnTo>
                  <a:pt x="5745" y="3123"/>
                </a:lnTo>
                <a:lnTo>
                  <a:pt x="5736" y="3142"/>
                </a:lnTo>
                <a:lnTo>
                  <a:pt x="5727" y="3163"/>
                </a:lnTo>
                <a:lnTo>
                  <a:pt x="5718" y="3181"/>
                </a:lnTo>
                <a:lnTo>
                  <a:pt x="5707" y="3201"/>
                </a:lnTo>
                <a:lnTo>
                  <a:pt x="5698" y="3218"/>
                </a:lnTo>
                <a:lnTo>
                  <a:pt x="5687" y="3236"/>
                </a:lnTo>
                <a:lnTo>
                  <a:pt x="5675" y="3252"/>
                </a:lnTo>
                <a:lnTo>
                  <a:pt x="5663" y="3268"/>
                </a:lnTo>
                <a:lnTo>
                  <a:pt x="5651" y="3285"/>
                </a:lnTo>
                <a:lnTo>
                  <a:pt x="5639" y="3300"/>
                </a:lnTo>
                <a:lnTo>
                  <a:pt x="5626" y="3314"/>
                </a:lnTo>
                <a:lnTo>
                  <a:pt x="5613" y="3328"/>
                </a:lnTo>
                <a:lnTo>
                  <a:pt x="5599" y="3341"/>
                </a:lnTo>
                <a:lnTo>
                  <a:pt x="5585" y="3354"/>
                </a:lnTo>
                <a:lnTo>
                  <a:pt x="5571" y="3365"/>
                </a:lnTo>
                <a:lnTo>
                  <a:pt x="5556" y="3377"/>
                </a:lnTo>
                <a:lnTo>
                  <a:pt x="5541" y="3388"/>
                </a:lnTo>
                <a:lnTo>
                  <a:pt x="5526" y="3398"/>
                </a:lnTo>
                <a:lnTo>
                  <a:pt x="5511" y="3407"/>
                </a:lnTo>
                <a:lnTo>
                  <a:pt x="5495" y="3416"/>
                </a:lnTo>
                <a:lnTo>
                  <a:pt x="5479" y="3424"/>
                </a:lnTo>
                <a:lnTo>
                  <a:pt x="5462" y="3431"/>
                </a:lnTo>
                <a:lnTo>
                  <a:pt x="5445" y="3438"/>
                </a:lnTo>
                <a:lnTo>
                  <a:pt x="5428" y="3444"/>
                </a:lnTo>
                <a:lnTo>
                  <a:pt x="5411" y="3449"/>
                </a:lnTo>
                <a:lnTo>
                  <a:pt x="5393" y="3454"/>
                </a:lnTo>
                <a:lnTo>
                  <a:pt x="5375" y="3458"/>
                </a:lnTo>
                <a:lnTo>
                  <a:pt x="5357" y="3461"/>
                </a:lnTo>
                <a:lnTo>
                  <a:pt x="5338" y="3463"/>
                </a:lnTo>
                <a:lnTo>
                  <a:pt x="5320" y="3466"/>
                </a:lnTo>
                <a:lnTo>
                  <a:pt x="5301" y="3467"/>
                </a:lnTo>
                <a:lnTo>
                  <a:pt x="5282" y="3467"/>
                </a:lnTo>
                <a:lnTo>
                  <a:pt x="5262" y="3467"/>
                </a:lnTo>
                <a:lnTo>
                  <a:pt x="5242" y="3466"/>
                </a:lnTo>
                <a:lnTo>
                  <a:pt x="5223" y="3463"/>
                </a:lnTo>
                <a:lnTo>
                  <a:pt x="5203" y="3461"/>
                </a:lnTo>
                <a:lnTo>
                  <a:pt x="5183" y="3458"/>
                </a:lnTo>
                <a:lnTo>
                  <a:pt x="5163" y="3454"/>
                </a:lnTo>
                <a:lnTo>
                  <a:pt x="5143" y="3448"/>
                </a:lnTo>
                <a:lnTo>
                  <a:pt x="5124" y="3443"/>
                </a:lnTo>
                <a:lnTo>
                  <a:pt x="5103" y="3436"/>
                </a:lnTo>
                <a:lnTo>
                  <a:pt x="5084" y="3430"/>
                </a:lnTo>
                <a:lnTo>
                  <a:pt x="5063" y="3422"/>
                </a:lnTo>
                <a:lnTo>
                  <a:pt x="5044" y="3414"/>
                </a:lnTo>
                <a:lnTo>
                  <a:pt x="5024" y="3404"/>
                </a:lnTo>
                <a:lnTo>
                  <a:pt x="5004" y="3394"/>
                </a:lnTo>
                <a:lnTo>
                  <a:pt x="4984" y="3384"/>
                </a:lnTo>
                <a:lnTo>
                  <a:pt x="4964" y="3373"/>
                </a:lnTo>
                <a:lnTo>
                  <a:pt x="4944" y="3361"/>
                </a:lnTo>
                <a:lnTo>
                  <a:pt x="4925" y="3348"/>
                </a:lnTo>
                <a:lnTo>
                  <a:pt x="4906" y="3335"/>
                </a:lnTo>
                <a:lnTo>
                  <a:pt x="4885" y="3321"/>
                </a:lnTo>
                <a:lnTo>
                  <a:pt x="4866" y="3306"/>
                </a:lnTo>
                <a:lnTo>
                  <a:pt x="4846" y="3291"/>
                </a:lnTo>
                <a:lnTo>
                  <a:pt x="4827" y="3275"/>
                </a:lnTo>
                <a:lnTo>
                  <a:pt x="4809" y="3259"/>
                </a:lnTo>
                <a:lnTo>
                  <a:pt x="4789" y="3242"/>
                </a:lnTo>
                <a:lnTo>
                  <a:pt x="4770" y="3223"/>
                </a:lnTo>
                <a:lnTo>
                  <a:pt x="4751" y="3205"/>
                </a:lnTo>
                <a:lnTo>
                  <a:pt x="4733" y="3186"/>
                </a:lnTo>
                <a:lnTo>
                  <a:pt x="4695" y="3146"/>
                </a:lnTo>
                <a:lnTo>
                  <a:pt x="4659" y="3103"/>
                </a:lnTo>
                <a:lnTo>
                  <a:pt x="4574" y="2999"/>
                </a:lnTo>
                <a:lnTo>
                  <a:pt x="4491" y="2895"/>
                </a:lnTo>
                <a:lnTo>
                  <a:pt x="4408" y="2789"/>
                </a:lnTo>
                <a:lnTo>
                  <a:pt x="4326" y="2684"/>
                </a:lnTo>
                <a:lnTo>
                  <a:pt x="4245" y="2577"/>
                </a:lnTo>
                <a:lnTo>
                  <a:pt x="4166" y="2469"/>
                </a:lnTo>
                <a:lnTo>
                  <a:pt x="4087" y="2362"/>
                </a:lnTo>
                <a:lnTo>
                  <a:pt x="4009" y="2253"/>
                </a:lnTo>
                <a:lnTo>
                  <a:pt x="3931" y="2143"/>
                </a:lnTo>
                <a:lnTo>
                  <a:pt x="3855" y="2033"/>
                </a:lnTo>
                <a:lnTo>
                  <a:pt x="3779" y="1923"/>
                </a:lnTo>
                <a:lnTo>
                  <a:pt x="3705" y="1811"/>
                </a:lnTo>
                <a:lnTo>
                  <a:pt x="3631" y="1700"/>
                </a:lnTo>
                <a:lnTo>
                  <a:pt x="3559" y="1588"/>
                </a:lnTo>
                <a:lnTo>
                  <a:pt x="3488" y="1475"/>
                </a:lnTo>
                <a:lnTo>
                  <a:pt x="3418" y="1362"/>
                </a:lnTo>
                <a:lnTo>
                  <a:pt x="2575" y="0"/>
                </a:lnTo>
                <a:lnTo>
                  <a:pt x="2427" y="148"/>
                </a:lnTo>
                <a:lnTo>
                  <a:pt x="2284" y="300"/>
                </a:lnTo>
                <a:lnTo>
                  <a:pt x="2144" y="456"/>
                </a:lnTo>
                <a:lnTo>
                  <a:pt x="2008" y="614"/>
                </a:lnTo>
                <a:lnTo>
                  <a:pt x="1875" y="776"/>
                </a:lnTo>
                <a:lnTo>
                  <a:pt x="1747" y="941"/>
                </a:lnTo>
                <a:lnTo>
                  <a:pt x="1623" y="1110"/>
                </a:lnTo>
                <a:lnTo>
                  <a:pt x="1502" y="1281"/>
                </a:lnTo>
                <a:lnTo>
                  <a:pt x="1385" y="1456"/>
                </a:lnTo>
                <a:lnTo>
                  <a:pt x="1273" y="1632"/>
                </a:lnTo>
                <a:lnTo>
                  <a:pt x="1165" y="1813"/>
                </a:lnTo>
                <a:lnTo>
                  <a:pt x="1062" y="1995"/>
                </a:lnTo>
                <a:lnTo>
                  <a:pt x="962" y="2182"/>
                </a:lnTo>
                <a:lnTo>
                  <a:pt x="867" y="2370"/>
                </a:lnTo>
                <a:lnTo>
                  <a:pt x="777" y="2561"/>
                </a:lnTo>
                <a:lnTo>
                  <a:pt x="692" y="2755"/>
                </a:lnTo>
                <a:lnTo>
                  <a:pt x="611" y="2951"/>
                </a:lnTo>
                <a:lnTo>
                  <a:pt x="534" y="3149"/>
                </a:lnTo>
                <a:lnTo>
                  <a:pt x="463" y="3349"/>
                </a:lnTo>
                <a:lnTo>
                  <a:pt x="396" y="3553"/>
                </a:lnTo>
                <a:lnTo>
                  <a:pt x="333" y="3757"/>
                </a:lnTo>
                <a:lnTo>
                  <a:pt x="277" y="3965"/>
                </a:lnTo>
                <a:lnTo>
                  <a:pt x="225" y="4174"/>
                </a:lnTo>
                <a:lnTo>
                  <a:pt x="179" y="4385"/>
                </a:lnTo>
                <a:lnTo>
                  <a:pt x="137" y="4599"/>
                </a:lnTo>
                <a:lnTo>
                  <a:pt x="101" y="4814"/>
                </a:lnTo>
                <a:lnTo>
                  <a:pt x="71" y="5031"/>
                </a:lnTo>
                <a:lnTo>
                  <a:pt x="45" y="5249"/>
                </a:lnTo>
                <a:lnTo>
                  <a:pt x="26" y="5469"/>
                </a:lnTo>
                <a:lnTo>
                  <a:pt x="12" y="5691"/>
                </a:lnTo>
                <a:lnTo>
                  <a:pt x="3" y="5914"/>
                </a:lnTo>
                <a:lnTo>
                  <a:pt x="0" y="6139"/>
                </a:lnTo>
                <a:lnTo>
                  <a:pt x="2" y="6356"/>
                </a:lnTo>
                <a:lnTo>
                  <a:pt x="11" y="6571"/>
                </a:lnTo>
                <a:lnTo>
                  <a:pt x="24" y="6785"/>
                </a:lnTo>
                <a:lnTo>
                  <a:pt x="42" y="6997"/>
                </a:lnTo>
                <a:lnTo>
                  <a:pt x="66" y="7209"/>
                </a:lnTo>
                <a:lnTo>
                  <a:pt x="95" y="7419"/>
                </a:lnTo>
                <a:lnTo>
                  <a:pt x="128" y="7627"/>
                </a:lnTo>
                <a:lnTo>
                  <a:pt x="167" y="7832"/>
                </a:lnTo>
                <a:lnTo>
                  <a:pt x="210" y="8037"/>
                </a:lnTo>
                <a:lnTo>
                  <a:pt x="259" y="8239"/>
                </a:lnTo>
                <a:lnTo>
                  <a:pt x="312" y="8441"/>
                </a:lnTo>
                <a:lnTo>
                  <a:pt x="369" y="8639"/>
                </a:lnTo>
                <a:lnTo>
                  <a:pt x="432" y="8836"/>
                </a:lnTo>
                <a:lnTo>
                  <a:pt x="498" y="9031"/>
                </a:lnTo>
                <a:lnTo>
                  <a:pt x="570" y="9224"/>
                </a:lnTo>
                <a:lnTo>
                  <a:pt x="645" y="9415"/>
                </a:lnTo>
                <a:lnTo>
                  <a:pt x="726" y="9602"/>
                </a:lnTo>
                <a:lnTo>
                  <a:pt x="810" y="9788"/>
                </a:lnTo>
                <a:lnTo>
                  <a:pt x="899" y="9971"/>
                </a:lnTo>
                <a:lnTo>
                  <a:pt x="991" y="10152"/>
                </a:lnTo>
                <a:lnTo>
                  <a:pt x="1089" y="10331"/>
                </a:lnTo>
                <a:lnTo>
                  <a:pt x="1190" y="10507"/>
                </a:lnTo>
                <a:lnTo>
                  <a:pt x="1295" y="10680"/>
                </a:lnTo>
                <a:lnTo>
                  <a:pt x="1404" y="10851"/>
                </a:lnTo>
                <a:lnTo>
                  <a:pt x="1517" y="11019"/>
                </a:lnTo>
                <a:lnTo>
                  <a:pt x="1633" y="11184"/>
                </a:lnTo>
                <a:lnTo>
                  <a:pt x="1754" y="11346"/>
                </a:lnTo>
                <a:lnTo>
                  <a:pt x="1878" y="11505"/>
                </a:lnTo>
                <a:lnTo>
                  <a:pt x="2006" y="11661"/>
                </a:lnTo>
                <a:lnTo>
                  <a:pt x="2137" y="11815"/>
                </a:lnTo>
                <a:lnTo>
                  <a:pt x="2272" y="11965"/>
                </a:lnTo>
                <a:lnTo>
                  <a:pt x="2410" y="12112"/>
                </a:lnTo>
                <a:lnTo>
                  <a:pt x="3366" y="11575"/>
                </a:lnTo>
                <a:lnTo>
                  <a:pt x="3448" y="1152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194771" tIns="97385" rIns="194771" bIns="97385" numCol="1" anchor="t" anchorCtr="0" compatLnSpc="1">
            <a:prstTxWarp prst="textNoShape">
              <a:avLst/>
            </a:prstTxWarp>
          </a:bodyPr>
          <a:lstStyle/>
          <a:p>
            <a:endParaRPr lang="en-US" sz="3835"/>
          </a:p>
        </p:txBody>
      </p:sp>
      <p:sp>
        <p:nvSpPr>
          <p:cNvPr id="11" name="Freeform 7">
            <a:extLst>
              <a:ext uri="{FF2B5EF4-FFF2-40B4-BE49-F238E27FC236}">
                <a16:creationId xmlns:a16="http://schemas.microsoft.com/office/drawing/2014/main" id="{94BD4ECD-E727-1031-9100-0670B80A2085}"/>
              </a:ext>
            </a:extLst>
          </p:cNvPr>
          <p:cNvSpPr>
            <a:spLocks/>
          </p:cNvSpPr>
          <p:nvPr/>
        </p:nvSpPr>
        <p:spPr bwMode="auto">
          <a:xfrm rot="2700000">
            <a:off x="5386084" y="2142567"/>
            <a:ext cx="2760277" cy="1965605"/>
          </a:xfrm>
          <a:custGeom>
            <a:avLst/>
            <a:gdLst>
              <a:gd name="T0" fmla="*/ 2350 w 12379"/>
              <a:gd name="T1" fmla="*/ 5696 h 8811"/>
              <a:gd name="T2" fmla="*/ 2543 w 12379"/>
              <a:gd name="T3" fmla="*/ 5756 h 8811"/>
              <a:gd name="T4" fmla="*/ 2678 w 12379"/>
              <a:gd name="T5" fmla="*/ 5729 h 8811"/>
              <a:gd name="T6" fmla="*/ 2821 w 12379"/>
              <a:gd name="T7" fmla="*/ 5586 h 8811"/>
              <a:gd name="T8" fmla="*/ 3035 w 12379"/>
              <a:gd name="T9" fmla="*/ 5093 h 8811"/>
              <a:gd name="T10" fmla="*/ 3165 w 12379"/>
              <a:gd name="T11" fmla="*/ 4791 h 8811"/>
              <a:gd name="T12" fmla="*/ 3381 w 12379"/>
              <a:gd name="T13" fmla="*/ 4506 h 8811"/>
              <a:gd name="T14" fmla="*/ 3707 w 12379"/>
              <a:gd name="T15" fmla="*/ 4318 h 8811"/>
              <a:gd name="T16" fmla="*/ 4115 w 12379"/>
              <a:gd name="T17" fmla="*/ 4244 h 8811"/>
              <a:gd name="T18" fmla="*/ 4511 w 12379"/>
              <a:gd name="T19" fmla="*/ 4284 h 8811"/>
              <a:gd name="T20" fmla="*/ 4902 w 12379"/>
              <a:gd name="T21" fmla="*/ 4424 h 8811"/>
              <a:gd name="T22" fmla="*/ 5254 w 12379"/>
              <a:gd name="T23" fmla="*/ 4664 h 8811"/>
              <a:gd name="T24" fmla="*/ 5510 w 12379"/>
              <a:gd name="T25" fmla="*/ 4967 h 8811"/>
              <a:gd name="T26" fmla="*/ 5653 w 12379"/>
              <a:gd name="T27" fmla="*/ 5306 h 8811"/>
              <a:gd name="T28" fmla="*/ 5667 w 12379"/>
              <a:gd name="T29" fmla="*/ 5667 h 8811"/>
              <a:gd name="T30" fmla="*/ 5539 w 12379"/>
              <a:gd name="T31" fmla="*/ 5978 h 8811"/>
              <a:gd name="T32" fmla="*/ 5255 w 12379"/>
              <a:gd name="T33" fmla="*/ 6294 h 8811"/>
              <a:gd name="T34" fmla="*/ 4570 w 12379"/>
              <a:gd name="T35" fmla="*/ 6854 h 8811"/>
              <a:gd name="T36" fmla="*/ 4394 w 12379"/>
              <a:gd name="T37" fmla="*/ 7033 h 8811"/>
              <a:gd name="T38" fmla="*/ 4298 w 12379"/>
              <a:gd name="T39" fmla="*/ 7212 h 8811"/>
              <a:gd name="T40" fmla="*/ 4267 w 12379"/>
              <a:gd name="T41" fmla="*/ 7412 h 8811"/>
              <a:gd name="T42" fmla="*/ 4352 w 12379"/>
              <a:gd name="T43" fmla="*/ 7666 h 8811"/>
              <a:gd name="T44" fmla="*/ 4608 w 12379"/>
              <a:gd name="T45" fmla="*/ 7915 h 8811"/>
              <a:gd name="T46" fmla="*/ 5462 w 12379"/>
              <a:gd name="T47" fmla="*/ 8527 h 8811"/>
              <a:gd name="T48" fmla="*/ 6191 w 12379"/>
              <a:gd name="T49" fmla="*/ 8367 h 8811"/>
              <a:gd name="T50" fmla="*/ 6810 w 12379"/>
              <a:gd name="T51" fmla="*/ 7508 h 8811"/>
              <a:gd name="T52" fmla="*/ 7027 w 12379"/>
              <a:gd name="T53" fmla="*/ 7266 h 8811"/>
              <a:gd name="T54" fmla="*/ 7217 w 12379"/>
              <a:gd name="T55" fmla="*/ 7150 h 8811"/>
              <a:gd name="T56" fmla="*/ 7423 w 12379"/>
              <a:gd name="T57" fmla="*/ 7097 h 8811"/>
              <a:gd name="T58" fmla="*/ 7658 w 12379"/>
              <a:gd name="T59" fmla="*/ 7115 h 8811"/>
              <a:gd name="T60" fmla="*/ 7892 w 12379"/>
              <a:gd name="T61" fmla="*/ 7217 h 8811"/>
              <a:gd name="T62" fmla="*/ 8106 w 12379"/>
              <a:gd name="T63" fmla="*/ 7396 h 8811"/>
              <a:gd name="T64" fmla="*/ 8528 w 12379"/>
              <a:gd name="T65" fmla="*/ 7928 h 8811"/>
              <a:gd name="T66" fmla="*/ 8960 w 12379"/>
              <a:gd name="T67" fmla="*/ 8364 h 8811"/>
              <a:gd name="T68" fmla="*/ 9197 w 12379"/>
              <a:gd name="T69" fmla="*/ 8486 h 8811"/>
              <a:gd name="T70" fmla="*/ 9538 w 12379"/>
              <a:gd name="T71" fmla="*/ 8482 h 8811"/>
              <a:gd name="T72" fmla="*/ 9888 w 12379"/>
              <a:gd name="T73" fmla="*/ 8311 h 8811"/>
              <a:gd name="T74" fmla="*/ 10184 w 12379"/>
              <a:gd name="T75" fmla="*/ 8002 h 8811"/>
              <a:gd name="T76" fmla="*/ 10394 w 12379"/>
              <a:gd name="T77" fmla="*/ 7556 h 8811"/>
              <a:gd name="T78" fmla="*/ 10440 w 12379"/>
              <a:gd name="T79" fmla="*/ 7023 h 8811"/>
              <a:gd name="T80" fmla="*/ 10281 w 12379"/>
              <a:gd name="T81" fmla="*/ 6581 h 8811"/>
              <a:gd name="T82" fmla="*/ 9958 w 12379"/>
              <a:gd name="T83" fmla="*/ 6326 h 8811"/>
              <a:gd name="T84" fmla="*/ 9596 w 12379"/>
              <a:gd name="T85" fmla="*/ 6169 h 8811"/>
              <a:gd name="T86" fmla="*/ 9119 w 12379"/>
              <a:gd name="T87" fmla="*/ 5944 h 8811"/>
              <a:gd name="T88" fmla="*/ 8998 w 12379"/>
              <a:gd name="T89" fmla="*/ 5809 h 8811"/>
              <a:gd name="T90" fmla="*/ 8941 w 12379"/>
              <a:gd name="T91" fmla="*/ 5659 h 8811"/>
              <a:gd name="T92" fmla="*/ 8948 w 12379"/>
              <a:gd name="T93" fmla="*/ 5448 h 8811"/>
              <a:gd name="T94" fmla="*/ 9045 w 12379"/>
              <a:gd name="T95" fmla="*/ 5226 h 8811"/>
              <a:gd name="T96" fmla="*/ 9228 w 12379"/>
              <a:gd name="T97" fmla="*/ 5012 h 8811"/>
              <a:gd name="T98" fmla="*/ 10035 w 12379"/>
              <a:gd name="T99" fmla="*/ 4383 h 8811"/>
              <a:gd name="T100" fmla="*/ 12379 w 12379"/>
              <a:gd name="T101" fmla="*/ 2916 h 8811"/>
              <a:gd name="T102" fmla="*/ 10696 w 12379"/>
              <a:gd name="T103" fmla="*/ 1448 h 8811"/>
              <a:gd name="T104" fmla="*/ 8671 w 12379"/>
              <a:gd name="T105" fmla="*/ 451 h 8811"/>
              <a:gd name="T106" fmla="*/ 6388 w 12379"/>
              <a:gd name="T107" fmla="*/ 13 h 8811"/>
              <a:gd name="T108" fmla="*/ 4238 w 12379"/>
              <a:gd name="T109" fmla="*/ 162 h 8811"/>
              <a:gd name="T110" fmla="*/ 2306 w 12379"/>
              <a:gd name="T111" fmla="*/ 784 h 8811"/>
              <a:gd name="T112" fmla="*/ 603 w 12379"/>
              <a:gd name="T113" fmla="*/ 1820 h 8811"/>
              <a:gd name="T114" fmla="*/ 1212 w 12379"/>
              <a:gd name="T115" fmla="*/ 4298 h 8811"/>
              <a:gd name="T116" fmla="*/ 1995 w 12379"/>
              <a:gd name="T117" fmla="*/ 5358 h 88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2379" h="8811">
                <a:moveTo>
                  <a:pt x="2077" y="5459"/>
                </a:moveTo>
                <a:lnTo>
                  <a:pt x="2107" y="5493"/>
                </a:lnTo>
                <a:lnTo>
                  <a:pt x="2136" y="5526"/>
                </a:lnTo>
                <a:lnTo>
                  <a:pt x="2166" y="5557"/>
                </a:lnTo>
                <a:lnTo>
                  <a:pt x="2197" y="5585"/>
                </a:lnTo>
                <a:lnTo>
                  <a:pt x="2227" y="5612"/>
                </a:lnTo>
                <a:lnTo>
                  <a:pt x="2257" y="5636"/>
                </a:lnTo>
                <a:lnTo>
                  <a:pt x="2288" y="5658"/>
                </a:lnTo>
                <a:lnTo>
                  <a:pt x="2319" y="5679"/>
                </a:lnTo>
                <a:lnTo>
                  <a:pt x="2350" y="5696"/>
                </a:lnTo>
                <a:lnTo>
                  <a:pt x="2380" y="5712"/>
                </a:lnTo>
                <a:lnTo>
                  <a:pt x="2410" y="5725"/>
                </a:lnTo>
                <a:lnTo>
                  <a:pt x="2440" y="5736"/>
                </a:lnTo>
                <a:lnTo>
                  <a:pt x="2456" y="5741"/>
                </a:lnTo>
                <a:lnTo>
                  <a:pt x="2471" y="5744"/>
                </a:lnTo>
                <a:lnTo>
                  <a:pt x="2485" y="5749"/>
                </a:lnTo>
                <a:lnTo>
                  <a:pt x="2500" y="5751"/>
                </a:lnTo>
                <a:lnTo>
                  <a:pt x="2514" y="5753"/>
                </a:lnTo>
                <a:lnTo>
                  <a:pt x="2529" y="5755"/>
                </a:lnTo>
                <a:lnTo>
                  <a:pt x="2543" y="5756"/>
                </a:lnTo>
                <a:lnTo>
                  <a:pt x="2557" y="5756"/>
                </a:lnTo>
                <a:lnTo>
                  <a:pt x="2572" y="5756"/>
                </a:lnTo>
                <a:lnTo>
                  <a:pt x="2587" y="5755"/>
                </a:lnTo>
                <a:lnTo>
                  <a:pt x="2601" y="5753"/>
                </a:lnTo>
                <a:lnTo>
                  <a:pt x="2615" y="5751"/>
                </a:lnTo>
                <a:lnTo>
                  <a:pt x="2628" y="5748"/>
                </a:lnTo>
                <a:lnTo>
                  <a:pt x="2641" y="5744"/>
                </a:lnTo>
                <a:lnTo>
                  <a:pt x="2654" y="5740"/>
                </a:lnTo>
                <a:lnTo>
                  <a:pt x="2666" y="5735"/>
                </a:lnTo>
                <a:lnTo>
                  <a:pt x="2678" y="5729"/>
                </a:lnTo>
                <a:lnTo>
                  <a:pt x="2689" y="5724"/>
                </a:lnTo>
                <a:lnTo>
                  <a:pt x="2699" y="5717"/>
                </a:lnTo>
                <a:lnTo>
                  <a:pt x="2710" y="5711"/>
                </a:lnTo>
                <a:lnTo>
                  <a:pt x="2731" y="5697"/>
                </a:lnTo>
                <a:lnTo>
                  <a:pt x="2749" y="5681"/>
                </a:lnTo>
                <a:lnTo>
                  <a:pt x="2766" y="5664"/>
                </a:lnTo>
                <a:lnTo>
                  <a:pt x="2781" y="5645"/>
                </a:lnTo>
                <a:lnTo>
                  <a:pt x="2795" y="5626"/>
                </a:lnTo>
                <a:lnTo>
                  <a:pt x="2809" y="5606"/>
                </a:lnTo>
                <a:lnTo>
                  <a:pt x="2821" y="5586"/>
                </a:lnTo>
                <a:lnTo>
                  <a:pt x="2832" y="5567"/>
                </a:lnTo>
                <a:lnTo>
                  <a:pt x="2841" y="5546"/>
                </a:lnTo>
                <a:lnTo>
                  <a:pt x="2849" y="5526"/>
                </a:lnTo>
                <a:lnTo>
                  <a:pt x="2877" y="5458"/>
                </a:lnTo>
                <a:lnTo>
                  <a:pt x="2905" y="5392"/>
                </a:lnTo>
                <a:lnTo>
                  <a:pt x="2932" y="5327"/>
                </a:lnTo>
                <a:lnTo>
                  <a:pt x="2959" y="5265"/>
                </a:lnTo>
                <a:lnTo>
                  <a:pt x="2985" y="5205"/>
                </a:lnTo>
                <a:lnTo>
                  <a:pt x="3010" y="5148"/>
                </a:lnTo>
                <a:lnTo>
                  <a:pt x="3035" y="5093"/>
                </a:lnTo>
                <a:lnTo>
                  <a:pt x="3058" y="5040"/>
                </a:lnTo>
                <a:lnTo>
                  <a:pt x="3072" y="5009"/>
                </a:lnTo>
                <a:lnTo>
                  <a:pt x="3085" y="4977"/>
                </a:lnTo>
                <a:lnTo>
                  <a:pt x="3098" y="4948"/>
                </a:lnTo>
                <a:lnTo>
                  <a:pt x="3109" y="4920"/>
                </a:lnTo>
                <a:lnTo>
                  <a:pt x="3121" y="4893"/>
                </a:lnTo>
                <a:lnTo>
                  <a:pt x="3132" y="4869"/>
                </a:lnTo>
                <a:lnTo>
                  <a:pt x="3142" y="4845"/>
                </a:lnTo>
                <a:lnTo>
                  <a:pt x="3150" y="4824"/>
                </a:lnTo>
                <a:lnTo>
                  <a:pt x="3165" y="4791"/>
                </a:lnTo>
                <a:lnTo>
                  <a:pt x="3181" y="4759"/>
                </a:lnTo>
                <a:lnTo>
                  <a:pt x="3198" y="4726"/>
                </a:lnTo>
                <a:lnTo>
                  <a:pt x="3217" y="4696"/>
                </a:lnTo>
                <a:lnTo>
                  <a:pt x="3237" y="4666"/>
                </a:lnTo>
                <a:lnTo>
                  <a:pt x="3258" y="4637"/>
                </a:lnTo>
                <a:lnTo>
                  <a:pt x="3280" y="4609"/>
                </a:lnTo>
                <a:lnTo>
                  <a:pt x="3304" y="4582"/>
                </a:lnTo>
                <a:lnTo>
                  <a:pt x="3328" y="4555"/>
                </a:lnTo>
                <a:lnTo>
                  <a:pt x="3354" y="4530"/>
                </a:lnTo>
                <a:lnTo>
                  <a:pt x="3381" y="4506"/>
                </a:lnTo>
                <a:lnTo>
                  <a:pt x="3409" y="4483"/>
                </a:lnTo>
                <a:lnTo>
                  <a:pt x="3438" y="4460"/>
                </a:lnTo>
                <a:lnTo>
                  <a:pt x="3469" y="4439"/>
                </a:lnTo>
                <a:lnTo>
                  <a:pt x="3500" y="4418"/>
                </a:lnTo>
                <a:lnTo>
                  <a:pt x="3532" y="4399"/>
                </a:lnTo>
                <a:lnTo>
                  <a:pt x="3566" y="4381"/>
                </a:lnTo>
                <a:lnTo>
                  <a:pt x="3600" y="4363"/>
                </a:lnTo>
                <a:lnTo>
                  <a:pt x="3635" y="4347"/>
                </a:lnTo>
                <a:lnTo>
                  <a:pt x="3670" y="4332"/>
                </a:lnTo>
                <a:lnTo>
                  <a:pt x="3707" y="4318"/>
                </a:lnTo>
                <a:lnTo>
                  <a:pt x="3745" y="4305"/>
                </a:lnTo>
                <a:lnTo>
                  <a:pt x="3784" y="4293"/>
                </a:lnTo>
                <a:lnTo>
                  <a:pt x="3823" y="4284"/>
                </a:lnTo>
                <a:lnTo>
                  <a:pt x="3862" y="4274"/>
                </a:lnTo>
                <a:lnTo>
                  <a:pt x="3903" y="4265"/>
                </a:lnTo>
                <a:lnTo>
                  <a:pt x="3944" y="4259"/>
                </a:lnTo>
                <a:lnTo>
                  <a:pt x="3987" y="4254"/>
                </a:lnTo>
                <a:lnTo>
                  <a:pt x="4029" y="4248"/>
                </a:lnTo>
                <a:lnTo>
                  <a:pt x="4072" y="4245"/>
                </a:lnTo>
                <a:lnTo>
                  <a:pt x="4115" y="4244"/>
                </a:lnTo>
                <a:lnTo>
                  <a:pt x="4159" y="4243"/>
                </a:lnTo>
                <a:lnTo>
                  <a:pt x="4198" y="4244"/>
                </a:lnTo>
                <a:lnTo>
                  <a:pt x="4237" y="4245"/>
                </a:lnTo>
                <a:lnTo>
                  <a:pt x="4276" y="4247"/>
                </a:lnTo>
                <a:lnTo>
                  <a:pt x="4315" y="4251"/>
                </a:lnTo>
                <a:lnTo>
                  <a:pt x="4354" y="4256"/>
                </a:lnTo>
                <a:lnTo>
                  <a:pt x="4393" y="4261"/>
                </a:lnTo>
                <a:lnTo>
                  <a:pt x="4432" y="4268"/>
                </a:lnTo>
                <a:lnTo>
                  <a:pt x="4472" y="4275"/>
                </a:lnTo>
                <a:lnTo>
                  <a:pt x="4511" y="4284"/>
                </a:lnTo>
                <a:lnTo>
                  <a:pt x="4550" y="4292"/>
                </a:lnTo>
                <a:lnTo>
                  <a:pt x="4589" y="4303"/>
                </a:lnTo>
                <a:lnTo>
                  <a:pt x="4627" y="4314"/>
                </a:lnTo>
                <a:lnTo>
                  <a:pt x="4666" y="4326"/>
                </a:lnTo>
                <a:lnTo>
                  <a:pt x="4704" y="4340"/>
                </a:lnTo>
                <a:lnTo>
                  <a:pt x="4742" y="4354"/>
                </a:lnTo>
                <a:lnTo>
                  <a:pt x="4779" y="4369"/>
                </a:lnTo>
                <a:lnTo>
                  <a:pt x="4822" y="4386"/>
                </a:lnTo>
                <a:lnTo>
                  <a:pt x="4863" y="4404"/>
                </a:lnTo>
                <a:lnTo>
                  <a:pt x="4902" y="4424"/>
                </a:lnTo>
                <a:lnTo>
                  <a:pt x="4941" y="4444"/>
                </a:lnTo>
                <a:lnTo>
                  <a:pt x="4980" y="4466"/>
                </a:lnTo>
                <a:lnTo>
                  <a:pt x="5017" y="4488"/>
                </a:lnTo>
                <a:lnTo>
                  <a:pt x="5054" y="4511"/>
                </a:lnTo>
                <a:lnTo>
                  <a:pt x="5089" y="4535"/>
                </a:lnTo>
                <a:lnTo>
                  <a:pt x="5125" y="4559"/>
                </a:lnTo>
                <a:lnTo>
                  <a:pt x="5158" y="4584"/>
                </a:lnTo>
                <a:lnTo>
                  <a:pt x="5192" y="4610"/>
                </a:lnTo>
                <a:lnTo>
                  <a:pt x="5223" y="4637"/>
                </a:lnTo>
                <a:lnTo>
                  <a:pt x="5254" y="4664"/>
                </a:lnTo>
                <a:lnTo>
                  <a:pt x="5284" y="4692"/>
                </a:lnTo>
                <a:lnTo>
                  <a:pt x="5314" y="4721"/>
                </a:lnTo>
                <a:lnTo>
                  <a:pt x="5342" y="4750"/>
                </a:lnTo>
                <a:lnTo>
                  <a:pt x="5370" y="4779"/>
                </a:lnTo>
                <a:lnTo>
                  <a:pt x="5396" y="4809"/>
                </a:lnTo>
                <a:lnTo>
                  <a:pt x="5420" y="4840"/>
                </a:lnTo>
                <a:lnTo>
                  <a:pt x="5444" y="4871"/>
                </a:lnTo>
                <a:lnTo>
                  <a:pt x="5467" y="4902"/>
                </a:lnTo>
                <a:lnTo>
                  <a:pt x="5489" y="4934"/>
                </a:lnTo>
                <a:lnTo>
                  <a:pt x="5510" y="4967"/>
                </a:lnTo>
                <a:lnTo>
                  <a:pt x="5529" y="4999"/>
                </a:lnTo>
                <a:lnTo>
                  <a:pt x="5548" y="5032"/>
                </a:lnTo>
                <a:lnTo>
                  <a:pt x="5565" y="5065"/>
                </a:lnTo>
                <a:lnTo>
                  <a:pt x="5581" y="5099"/>
                </a:lnTo>
                <a:lnTo>
                  <a:pt x="5596" y="5133"/>
                </a:lnTo>
                <a:lnTo>
                  <a:pt x="5610" y="5166"/>
                </a:lnTo>
                <a:lnTo>
                  <a:pt x="5622" y="5200"/>
                </a:lnTo>
                <a:lnTo>
                  <a:pt x="5634" y="5235"/>
                </a:lnTo>
                <a:lnTo>
                  <a:pt x="5644" y="5269"/>
                </a:lnTo>
                <a:lnTo>
                  <a:pt x="5653" y="5306"/>
                </a:lnTo>
                <a:lnTo>
                  <a:pt x="5661" y="5341"/>
                </a:lnTo>
                <a:lnTo>
                  <a:pt x="5667" y="5378"/>
                </a:lnTo>
                <a:lnTo>
                  <a:pt x="5673" y="5414"/>
                </a:lnTo>
                <a:lnTo>
                  <a:pt x="5677" y="5450"/>
                </a:lnTo>
                <a:lnTo>
                  <a:pt x="5679" y="5487"/>
                </a:lnTo>
                <a:lnTo>
                  <a:pt x="5679" y="5522"/>
                </a:lnTo>
                <a:lnTo>
                  <a:pt x="5679" y="5559"/>
                </a:lnTo>
                <a:lnTo>
                  <a:pt x="5677" y="5595"/>
                </a:lnTo>
                <a:lnTo>
                  <a:pt x="5673" y="5631"/>
                </a:lnTo>
                <a:lnTo>
                  <a:pt x="5667" y="5667"/>
                </a:lnTo>
                <a:lnTo>
                  <a:pt x="5661" y="5702"/>
                </a:lnTo>
                <a:lnTo>
                  <a:pt x="5652" y="5738"/>
                </a:lnTo>
                <a:lnTo>
                  <a:pt x="5643" y="5772"/>
                </a:lnTo>
                <a:lnTo>
                  <a:pt x="5631" y="5807"/>
                </a:lnTo>
                <a:lnTo>
                  <a:pt x="5618" y="5841"/>
                </a:lnTo>
                <a:lnTo>
                  <a:pt x="5606" y="5867"/>
                </a:lnTo>
                <a:lnTo>
                  <a:pt x="5593" y="5894"/>
                </a:lnTo>
                <a:lnTo>
                  <a:pt x="5577" y="5921"/>
                </a:lnTo>
                <a:lnTo>
                  <a:pt x="5558" y="5949"/>
                </a:lnTo>
                <a:lnTo>
                  <a:pt x="5539" y="5978"/>
                </a:lnTo>
                <a:lnTo>
                  <a:pt x="5517" y="6007"/>
                </a:lnTo>
                <a:lnTo>
                  <a:pt x="5494" y="6037"/>
                </a:lnTo>
                <a:lnTo>
                  <a:pt x="5469" y="6069"/>
                </a:lnTo>
                <a:lnTo>
                  <a:pt x="5442" y="6100"/>
                </a:lnTo>
                <a:lnTo>
                  <a:pt x="5414" y="6131"/>
                </a:lnTo>
                <a:lnTo>
                  <a:pt x="5385" y="6163"/>
                </a:lnTo>
                <a:lnTo>
                  <a:pt x="5355" y="6196"/>
                </a:lnTo>
                <a:lnTo>
                  <a:pt x="5322" y="6228"/>
                </a:lnTo>
                <a:lnTo>
                  <a:pt x="5289" y="6260"/>
                </a:lnTo>
                <a:lnTo>
                  <a:pt x="5255" y="6294"/>
                </a:lnTo>
                <a:lnTo>
                  <a:pt x="5220" y="6326"/>
                </a:lnTo>
                <a:lnTo>
                  <a:pt x="5147" y="6393"/>
                </a:lnTo>
                <a:lnTo>
                  <a:pt x="5073" y="6458"/>
                </a:lnTo>
                <a:lnTo>
                  <a:pt x="4996" y="6524"/>
                </a:lnTo>
                <a:lnTo>
                  <a:pt x="4918" y="6588"/>
                </a:lnTo>
                <a:lnTo>
                  <a:pt x="4840" y="6650"/>
                </a:lnTo>
                <a:lnTo>
                  <a:pt x="4761" y="6712"/>
                </a:lnTo>
                <a:lnTo>
                  <a:pt x="4685" y="6770"/>
                </a:lnTo>
                <a:lnTo>
                  <a:pt x="4609" y="6825"/>
                </a:lnTo>
                <a:lnTo>
                  <a:pt x="4570" y="6854"/>
                </a:lnTo>
                <a:lnTo>
                  <a:pt x="4532" y="6885"/>
                </a:lnTo>
                <a:lnTo>
                  <a:pt x="4515" y="6900"/>
                </a:lnTo>
                <a:lnTo>
                  <a:pt x="4498" y="6916"/>
                </a:lnTo>
                <a:lnTo>
                  <a:pt x="4482" y="6932"/>
                </a:lnTo>
                <a:lnTo>
                  <a:pt x="4466" y="6949"/>
                </a:lnTo>
                <a:lnTo>
                  <a:pt x="4450" y="6965"/>
                </a:lnTo>
                <a:lnTo>
                  <a:pt x="4435" y="6982"/>
                </a:lnTo>
                <a:lnTo>
                  <a:pt x="4421" y="6999"/>
                </a:lnTo>
                <a:lnTo>
                  <a:pt x="4407" y="7015"/>
                </a:lnTo>
                <a:lnTo>
                  <a:pt x="4394" y="7033"/>
                </a:lnTo>
                <a:lnTo>
                  <a:pt x="4382" y="7051"/>
                </a:lnTo>
                <a:lnTo>
                  <a:pt x="4371" y="7068"/>
                </a:lnTo>
                <a:lnTo>
                  <a:pt x="4359" y="7085"/>
                </a:lnTo>
                <a:lnTo>
                  <a:pt x="4348" y="7104"/>
                </a:lnTo>
                <a:lnTo>
                  <a:pt x="4338" y="7121"/>
                </a:lnTo>
                <a:lnTo>
                  <a:pt x="4329" y="7139"/>
                </a:lnTo>
                <a:lnTo>
                  <a:pt x="4320" y="7157"/>
                </a:lnTo>
                <a:lnTo>
                  <a:pt x="4312" y="7176"/>
                </a:lnTo>
                <a:lnTo>
                  <a:pt x="4305" y="7194"/>
                </a:lnTo>
                <a:lnTo>
                  <a:pt x="4298" y="7212"/>
                </a:lnTo>
                <a:lnTo>
                  <a:pt x="4292" y="7231"/>
                </a:lnTo>
                <a:lnTo>
                  <a:pt x="4286" y="7249"/>
                </a:lnTo>
                <a:lnTo>
                  <a:pt x="4281" y="7267"/>
                </a:lnTo>
                <a:lnTo>
                  <a:pt x="4277" y="7287"/>
                </a:lnTo>
                <a:lnTo>
                  <a:pt x="4274" y="7305"/>
                </a:lnTo>
                <a:lnTo>
                  <a:pt x="4271" y="7323"/>
                </a:lnTo>
                <a:lnTo>
                  <a:pt x="4269" y="7342"/>
                </a:lnTo>
                <a:lnTo>
                  <a:pt x="4267" y="7361"/>
                </a:lnTo>
                <a:lnTo>
                  <a:pt x="4267" y="7379"/>
                </a:lnTo>
                <a:lnTo>
                  <a:pt x="4267" y="7412"/>
                </a:lnTo>
                <a:lnTo>
                  <a:pt x="4270" y="7444"/>
                </a:lnTo>
                <a:lnTo>
                  <a:pt x="4275" y="7475"/>
                </a:lnTo>
                <a:lnTo>
                  <a:pt x="4281" y="7506"/>
                </a:lnTo>
                <a:lnTo>
                  <a:pt x="4288" y="7530"/>
                </a:lnTo>
                <a:lnTo>
                  <a:pt x="4296" y="7554"/>
                </a:lnTo>
                <a:lnTo>
                  <a:pt x="4305" y="7576"/>
                </a:lnTo>
                <a:lnTo>
                  <a:pt x="4315" y="7599"/>
                </a:lnTo>
                <a:lnTo>
                  <a:pt x="4326" y="7622"/>
                </a:lnTo>
                <a:lnTo>
                  <a:pt x="4338" y="7644"/>
                </a:lnTo>
                <a:lnTo>
                  <a:pt x="4352" y="7666"/>
                </a:lnTo>
                <a:lnTo>
                  <a:pt x="4367" y="7687"/>
                </a:lnTo>
                <a:lnTo>
                  <a:pt x="4382" y="7709"/>
                </a:lnTo>
                <a:lnTo>
                  <a:pt x="4400" y="7731"/>
                </a:lnTo>
                <a:lnTo>
                  <a:pt x="4418" y="7751"/>
                </a:lnTo>
                <a:lnTo>
                  <a:pt x="4437" y="7771"/>
                </a:lnTo>
                <a:lnTo>
                  <a:pt x="4458" y="7792"/>
                </a:lnTo>
                <a:lnTo>
                  <a:pt x="4480" y="7812"/>
                </a:lnTo>
                <a:lnTo>
                  <a:pt x="4501" y="7832"/>
                </a:lnTo>
                <a:lnTo>
                  <a:pt x="4525" y="7850"/>
                </a:lnTo>
                <a:lnTo>
                  <a:pt x="4608" y="7915"/>
                </a:lnTo>
                <a:lnTo>
                  <a:pt x="4691" y="7978"/>
                </a:lnTo>
                <a:lnTo>
                  <a:pt x="4775" y="8042"/>
                </a:lnTo>
                <a:lnTo>
                  <a:pt x="4859" y="8104"/>
                </a:lnTo>
                <a:lnTo>
                  <a:pt x="4945" y="8166"/>
                </a:lnTo>
                <a:lnTo>
                  <a:pt x="5030" y="8228"/>
                </a:lnTo>
                <a:lnTo>
                  <a:pt x="5116" y="8288"/>
                </a:lnTo>
                <a:lnTo>
                  <a:pt x="5201" y="8349"/>
                </a:lnTo>
                <a:lnTo>
                  <a:pt x="5289" y="8409"/>
                </a:lnTo>
                <a:lnTo>
                  <a:pt x="5375" y="8468"/>
                </a:lnTo>
                <a:lnTo>
                  <a:pt x="5462" y="8527"/>
                </a:lnTo>
                <a:lnTo>
                  <a:pt x="5550" y="8585"/>
                </a:lnTo>
                <a:lnTo>
                  <a:pt x="5638" y="8643"/>
                </a:lnTo>
                <a:lnTo>
                  <a:pt x="5727" y="8699"/>
                </a:lnTo>
                <a:lnTo>
                  <a:pt x="5815" y="8755"/>
                </a:lnTo>
                <a:lnTo>
                  <a:pt x="5904" y="8811"/>
                </a:lnTo>
                <a:lnTo>
                  <a:pt x="5960" y="8721"/>
                </a:lnTo>
                <a:lnTo>
                  <a:pt x="6017" y="8632"/>
                </a:lnTo>
                <a:lnTo>
                  <a:pt x="6074" y="8544"/>
                </a:lnTo>
                <a:lnTo>
                  <a:pt x="6132" y="8455"/>
                </a:lnTo>
                <a:lnTo>
                  <a:pt x="6191" y="8367"/>
                </a:lnTo>
                <a:lnTo>
                  <a:pt x="6250" y="8279"/>
                </a:lnTo>
                <a:lnTo>
                  <a:pt x="6310" y="8192"/>
                </a:lnTo>
                <a:lnTo>
                  <a:pt x="6371" y="8104"/>
                </a:lnTo>
                <a:lnTo>
                  <a:pt x="6431" y="8018"/>
                </a:lnTo>
                <a:lnTo>
                  <a:pt x="6493" y="7932"/>
                </a:lnTo>
                <a:lnTo>
                  <a:pt x="6555" y="7846"/>
                </a:lnTo>
                <a:lnTo>
                  <a:pt x="6618" y="7761"/>
                </a:lnTo>
                <a:lnTo>
                  <a:pt x="6682" y="7676"/>
                </a:lnTo>
                <a:lnTo>
                  <a:pt x="6745" y="7592"/>
                </a:lnTo>
                <a:lnTo>
                  <a:pt x="6810" y="7508"/>
                </a:lnTo>
                <a:lnTo>
                  <a:pt x="6875" y="7424"/>
                </a:lnTo>
                <a:lnTo>
                  <a:pt x="6890" y="7404"/>
                </a:lnTo>
                <a:lnTo>
                  <a:pt x="6907" y="7385"/>
                </a:lnTo>
                <a:lnTo>
                  <a:pt x="6923" y="7365"/>
                </a:lnTo>
                <a:lnTo>
                  <a:pt x="6939" y="7348"/>
                </a:lnTo>
                <a:lnTo>
                  <a:pt x="6957" y="7330"/>
                </a:lnTo>
                <a:lnTo>
                  <a:pt x="6974" y="7314"/>
                </a:lnTo>
                <a:lnTo>
                  <a:pt x="6991" y="7296"/>
                </a:lnTo>
                <a:lnTo>
                  <a:pt x="7008" y="7281"/>
                </a:lnTo>
                <a:lnTo>
                  <a:pt x="7027" y="7266"/>
                </a:lnTo>
                <a:lnTo>
                  <a:pt x="7045" y="7251"/>
                </a:lnTo>
                <a:lnTo>
                  <a:pt x="7063" y="7237"/>
                </a:lnTo>
                <a:lnTo>
                  <a:pt x="7082" y="7224"/>
                </a:lnTo>
                <a:lnTo>
                  <a:pt x="7100" y="7211"/>
                </a:lnTo>
                <a:lnTo>
                  <a:pt x="7120" y="7200"/>
                </a:lnTo>
                <a:lnTo>
                  <a:pt x="7138" y="7189"/>
                </a:lnTo>
                <a:lnTo>
                  <a:pt x="7157" y="7178"/>
                </a:lnTo>
                <a:lnTo>
                  <a:pt x="7177" y="7167"/>
                </a:lnTo>
                <a:lnTo>
                  <a:pt x="7196" y="7159"/>
                </a:lnTo>
                <a:lnTo>
                  <a:pt x="7217" y="7150"/>
                </a:lnTo>
                <a:lnTo>
                  <a:pt x="7236" y="7141"/>
                </a:lnTo>
                <a:lnTo>
                  <a:pt x="7257" y="7134"/>
                </a:lnTo>
                <a:lnTo>
                  <a:pt x="7276" y="7127"/>
                </a:lnTo>
                <a:lnTo>
                  <a:pt x="7297" y="7121"/>
                </a:lnTo>
                <a:lnTo>
                  <a:pt x="7318" y="7115"/>
                </a:lnTo>
                <a:lnTo>
                  <a:pt x="7339" y="7110"/>
                </a:lnTo>
                <a:lnTo>
                  <a:pt x="7359" y="7106"/>
                </a:lnTo>
                <a:lnTo>
                  <a:pt x="7381" y="7103"/>
                </a:lnTo>
                <a:lnTo>
                  <a:pt x="7401" y="7099"/>
                </a:lnTo>
                <a:lnTo>
                  <a:pt x="7423" y="7097"/>
                </a:lnTo>
                <a:lnTo>
                  <a:pt x="7444" y="7095"/>
                </a:lnTo>
                <a:lnTo>
                  <a:pt x="7466" y="7094"/>
                </a:lnTo>
                <a:lnTo>
                  <a:pt x="7487" y="7094"/>
                </a:lnTo>
                <a:lnTo>
                  <a:pt x="7512" y="7094"/>
                </a:lnTo>
                <a:lnTo>
                  <a:pt x="7536" y="7095"/>
                </a:lnTo>
                <a:lnTo>
                  <a:pt x="7561" y="7098"/>
                </a:lnTo>
                <a:lnTo>
                  <a:pt x="7585" y="7100"/>
                </a:lnTo>
                <a:lnTo>
                  <a:pt x="7609" y="7105"/>
                </a:lnTo>
                <a:lnTo>
                  <a:pt x="7633" y="7109"/>
                </a:lnTo>
                <a:lnTo>
                  <a:pt x="7658" y="7115"/>
                </a:lnTo>
                <a:lnTo>
                  <a:pt x="7682" y="7122"/>
                </a:lnTo>
                <a:lnTo>
                  <a:pt x="7705" y="7129"/>
                </a:lnTo>
                <a:lnTo>
                  <a:pt x="7729" y="7137"/>
                </a:lnTo>
                <a:lnTo>
                  <a:pt x="7753" y="7146"/>
                </a:lnTo>
                <a:lnTo>
                  <a:pt x="7777" y="7155"/>
                </a:lnTo>
                <a:lnTo>
                  <a:pt x="7800" y="7166"/>
                </a:lnTo>
                <a:lnTo>
                  <a:pt x="7824" y="7178"/>
                </a:lnTo>
                <a:lnTo>
                  <a:pt x="7847" y="7190"/>
                </a:lnTo>
                <a:lnTo>
                  <a:pt x="7869" y="7203"/>
                </a:lnTo>
                <a:lnTo>
                  <a:pt x="7892" y="7217"/>
                </a:lnTo>
                <a:lnTo>
                  <a:pt x="7915" y="7231"/>
                </a:lnTo>
                <a:lnTo>
                  <a:pt x="7937" y="7247"/>
                </a:lnTo>
                <a:lnTo>
                  <a:pt x="7959" y="7262"/>
                </a:lnTo>
                <a:lnTo>
                  <a:pt x="7981" y="7279"/>
                </a:lnTo>
                <a:lnTo>
                  <a:pt x="8002" y="7296"/>
                </a:lnTo>
                <a:lnTo>
                  <a:pt x="8024" y="7315"/>
                </a:lnTo>
                <a:lnTo>
                  <a:pt x="8044" y="7334"/>
                </a:lnTo>
                <a:lnTo>
                  <a:pt x="8066" y="7354"/>
                </a:lnTo>
                <a:lnTo>
                  <a:pt x="8085" y="7374"/>
                </a:lnTo>
                <a:lnTo>
                  <a:pt x="8106" y="7396"/>
                </a:lnTo>
                <a:lnTo>
                  <a:pt x="8125" y="7417"/>
                </a:lnTo>
                <a:lnTo>
                  <a:pt x="8145" y="7440"/>
                </a:lnTo>
                <a:lnTo>
                  <a:pt x="8164" y="7462"/>
                </a:lnTo>
                <a:lnTo>
                  <a:pt x="8182" y="7486"/>
                </a:lnTo>
                <a:lnTo>
                  <a:pt x="8201" y="7511"/>
                </a:lnTo>
                <a:lnTo>
                  <a:pt x="8266" y="7600"/>
                </a:lnTo>
                <a:lnTo>
                  <a:pt x="8332" y="7686"/>
                </a:lnTo>
                <a:lnTo>
                  <a:pt x="8397" y="7769"/>
                </a:lnTo>
                <a:lnTo>
                  <a:pt x="8463" y="7850"/>
                </a:lnTo>
                <a:lnTo>
                  <a:pt x="8528" y="7928"/>
                </a:lnTo>
                <a:lnTo>
                  <a:pt x="8591" y="8001"/>
                </a:lnTo>
                <a:lnTo>
                  <a:pt x="8654" y="8070"/>
                </a:lnTo>
                <a:lnTo>
                  <a:pt x="8714" y="8134"/>
                </a:lnTo>
                <a:lnTo>
                  <a:pt x="8773" y="8195"/>
                </a:lnTo>
                <a:lnTo>
                  <a:pt x="8830" y="8250"/>
                </a:lnTo>
                <a:lnTo>
                  <a:pt x="8858" y="8276"/>
                </a:lnTo>
                <a:lnTo>
                  <a:pt x="8885" y="8300"/>
                </a:lnTo>
                <a:lnTo>
                  <a:pt x="8911" y="8323"/>
                </a:lnTo>
                <a:lnTo>
                  <a:pt x="8935" y="8343"/>
                </a:lnTo>
                <a:lnTo>
                  <a:pt x="8960" y="8364"/>
                </a:lnTo>
                <a:lnTo>
                  <a:pt x="8984" y="8382"/>
                </a:lnTo>
                <a:lnTo>
                  <a:pt x="9007" y="8398"/>
                </a:lnTo>
                <a:lnTo>
                  <a:pt x="9028" y="8413"/>
                </a:lnTo>
                <a:lnTo>
                  <a:pt x="9050" y="8427"/>
                </a:lnTo>
                <a:lnTo>
                  <a:pt x="9069" y="8438"/>
                </a:lnTo>
                <a:lnTo>
                  <a:pt x="9089" y="8449"/>
                </a:lnTo>
                <a:lnTo>
                  <a:pt x="9107" y="8457"/>
                </a:lnTo>
                <a:lnTo>
                  <a:pt x="9136" y="8468"/>
                </a:lnTo>
                <a:lnTo>
                  <a:pt x="9166" y="8478"/>
                </a:lnTo>
                <a:lnTo>
                  <a:pt x="9197" y="8486"/>
                </a:lnTo>
                <a:lnTo>
                  <a:pt x="9229" y="8493"/>
                </a:lnTo>
                <a:lnTo>
                  <a:pt x="9260" y="8499"/>
                </a:lnTo>
                <a:lnTo>
                  <a:pt x="9291" y="8502"/>
                </a:lnTo>
                <a:lnTo>
                  <a:pt x="9324" y="8504"/>
                </a:lnTo>
                <a:lnTo>
                  <a:pt x="9357" y="8505"/>
                </a:lnTo>
                <a:lnTo>
                  <a:pt x="9393" y="8504"/>
                </a:lnTo>
                <a:lnTo>
                  <a:pt x="9429" y="8502"/>
                </a:lnTo>
                <a:lnTo>
                  <a:pt x="9466" y="8496"/>
                </a:lnTo>
                <a:lnTo>
                  <a:pt x="9502" y="8490"/>
                </a:lnTo>
                <a:lnTo>
                  <a:pt x="9538" y="8482"/>
                </a:lnTo>
                <a:lnTo>
                  <a:pt x="9574" y="8473"/>
                </a:lnTo>
                <a:lnTo>
                  <a:pt x="9611" y="8461"/>
                </a:lnTo>
                <a:lnTo>
                  <a:pt x="9646" y="8448"/>
                </a:lnTo>
                <a:lnTo>
                  <a:pt x="9682" y="8433"/>
                </a:lnTo>
                <a:lnTo>
                  <a:pt x="9718" y="8417"/>
                </a:lnTo>
                <a:lnTo>
                  <a:pt x="9752" y="8398"/>
                </a:lnTo>
                <a:lnTo>
                  <a:pt x="9787" y="8379"/>
                </a:lnTo>
                <a:lnTo>
                  <a:pt x="9821" y="8357"/>
                </a:lnTo>
                <a:lnTo>
                  <a:pt x="9855" y="8336"/>
                </a:lnTo>
                <a:lnTo>
                  <a:pt x="9888" y="8311"/>
                </a:lnTo>
                <a:lnTo>
                  <a:pt x="9920" y="8286"/>
                </a:lnTo>
                <a:lnTo>
                  <a:pt x="9953" y="8259"/>
                </a:lnTo>
                <a:lnTo>
                  <a:pt x="9984" y="8231"/>
                </a:lnTo>
                <a:lnTo>
                  <a:pt x="10015" y="8202"/>
                </a:lnTo>
                <a:lnTo>
                  <a:pt x="10045" y="8172"/>
                </a:lnTo>
                <a:lnTo>
                  <a:pt x="10075" y="8141"/>
                </a:lnTo>
                <a:lnTo>
                  <a:pt x="10103" y="8108"/>
                </a:lnTo>
                <a:lnTo>
                  <a:pt x="10131" y="8074"/>
                </a:lnTo>
                <a:lnTo>
                  <a:pt x="10158" y="8039"/>
                </a:lnTo>
                <a:lnTo>
                  <a:pt x="10184" y="8002"/>
                </a:lnTo>
                <a:lnTo>
                  <a:pt x="10208" y="7965"/>
                </a:lnTo>
                <a:lnTo>
                  <a:pt x="10233" y="7927"/>
                </a:lnTo>
                <a:lnTo>
                  <a:pt x="10256" y="7888"/>
                </a:lnTo>
                <a:lnTo>
                  <a:pt x="10277" y="7848"/>
                </a:lnTo>
                <a:lnTo>
                  <a:pt x="10299" y="7806"/>
                </a:lnTo>
                <a:lnTo>
                  <a:pt x="10318" y="7764"/>
                </a:lnTo>
                <a:lnTo>
                  <a:pt x="10337" y="7722"/>
                </a:lnTo>
                <a:lnTo>
                  <a:pt x="10358" y="7667"/>
                </a:lnTo>
                <a:lnTo>
                  <a:pt x="10378" y="7612"/>
                </a:lnTo>
                <a:lnTo>
                  <a:pt x="10394" y="7556"/>
                </a:lnTo>
                <a:lnTo>
                  <a:pt x="10408" y="7501"/>
                </a:lnTo>
                <a:lnTo>
                  <a:pt x="10421" y="7446"/>
                </a:lnTo>
                <a:lnTo>
                  <a:pt x="10431" y="7392"/>
                </a:lnTo>
                <a:lnTo>
                  <a:pt x="10438" y="7337"/>
                </a:lnTo>
                <a:lnTo>
                  <a:pt x="10444" y="7284"/>
                </a:lnTo>
                <a:lnTo>
                  <a:pt x="10448" y="7230"/>
                </a:lnTo>
                <a:lnTo>
                  <a:pt x="10449" y="7177"/>
                </a:lnTo>
                <a:lnTo>
                  <a:pt x="10448" y="7125"/>
                </a:lnTo>
                <a:lnTo>
                  <a:pt x="10445" y="7073"/>
                </a:lnTo>
                <a:lnTo>
                  <a:pt x="10440" y="7023"/>
                </a:lnTo>
                <a:lnTo>
                  <a:pt x="10433" y="6972"/>
                </a:lnTo>
                <a:lnTo>
                  <a:pt x="10424" y="6924"/>
                </a:lnTo>
                <a:lnTo>
                  <a:pt x="10412" y="6876"/>
                </a:lnTo>
                <a:lnTo>
                  <a:pt x="10399" y="6830"/>
                </a:lnTo>
                <a:lnTo>
                  <a:pt x="10384" y="6785"/>
                </a:lnTo>
                <a:lnTo>
                  <a:pt x="10368" y="6741"/>
                </a:lnTo>
                <a:lnTo>
                  <a:pt x="10349" y="6699"/>
                </a:lnTo>
                <a:lnTo>
                  <a:pt x="10328" y="6658"/>
                </a:lnTo>
                <a:lnTo>
                  <a:pt x="10305" y="6619"/>
                </a:lnTo>
                <a:lnTo>
                  <a:pt x="10281" y="6581"/>
                </a:lnTo>
                <a:lnTo>
                  <a:pt x="10255" y="6546"/>
                </a:lnTo>
                <a:lnTo>
                  <a:pt x="10227" y="6511"/>
                </a:lnTo>
                <a:lnTo>
                  <a:pt x="10197" y="6480"/>
                </a:lnTo>
                <a:lnTo>
                  <a:pt x="10165" y="6450"/>
                </a:lnTo>
                <a:lnTo>
                  <a:pt x="10132" y="6422"/>
                </a:lnTo>
                <a:lnTo>
                  <a:pt x="10096" y="6397"/>
                </a:lnTo>
                <a:lnTo>
                  <a:pt x="10060" y="6373"/>
                </a:lnTo>
                <a:lnTo>
                  <a:pt x="10021" y="6353"/>
                </a:lnTo>
                <a:lnTo>
                  <a:pt x="9981" y="6335"/>
                </a:lnTo>
                <a:lnTo>
                  <a:pt x="9958" y="6326"/>
                </a:lnTo>
                <a:lnTo>
                  <a:pt x="9934" y="6316"/>
                </a:lnTo>
                <a:lnTo>
                  <a:pt x="9908" y="6304"/>
                </a:lnTo>
                <a:lnTo>
                  <a:pt x="9881" y="6294"/>
                </a:lnTo>
                <a:lnTo>
                  <a:pt x="9853" y="6281"/>
                </a:lnTo>
                <a:lnTo>
                  <a:pt x="9823" y="6268"/>
                </a:lnTo>
                <a:lnTo>
                  <a:pt x="9792" y="6254"/>
                </a:lnTo>
                <a:lnTo>
                  <a:pt x="9759" y="6240"/>
                </a:lnTo>
                <a:lnTo>
                  <a:pt x="9708" y="6217"/>
                </a:lnTo>
                <a:lnTo>
                  <a:pt x="9653" y="6193"/>
                </a:lnTo>
                <a:lnTo>
                  <a:pt x="9596" y="6169"/>
                </a:lnTo>
                <a:lnTo>
                  <a:pt x="9536" y="6143"/>
                </a:lnTo>
                <a:lnTo>
                  <a:pt x="9475" y="6117"/>
                </a:lnTo>
                <a:lnTo>
                  <a:pt x="9411" y="6090"/>
                </a:lnTo>
                <a:lnTo>
                  <a:pt x="9345" y="6062"/>
                </a:lnTo>
                <a:lnTo>
                  <a:pt x="9277" y="6035"/>
                </a:lnTo>
                <a:lnTo>
                  <a:pt x="9243" y="6019"/>
                </a:lnTo>
                <a:lnTo>
                  <a:pt x="9209" y="6003"/>
                </a:lnTo>
                <a:lnTo>
                  <a:pt x="9177" y="5985"/>
                </a:lnTo>
                <a:lnTo>
                  <a:pt x="9147" y="5965"/>
                </a:lnTo>
                <a:lnTo>
                  <a:pt x="9119" y="5944"/>
                </a:lnTo>
                <a:lnTo>
                  <a:pt x="9093" y="5922"/>
                </a:lnTo>
                <a:lnTo>
                  <a:pt x="9080" y="5910"/>
                </a:lnTo>
                <a:lnTo>
                  <a:pt x="9068" y="5898"/>
                </a:lnTo>
                <a:lnTo>
                  <a:pt x="9056" y="5886"/>
                </a:lnTo>
                <a:lnTo>
                  <a:pt x="9045" y="5875"/>
                </a:lnTo>
                <a:lnTo>
                  <a:pt x="9035" y="5862"/>
                </a:lnTo>
                <a:lnTo>
                  <a:pt x="9025" y="5849"/>
                </a:lnTo>
                <a:lnTo>
                  <a:pt x="9015" y="5836"/>
                </a:lnTo>
                <a:lnTo>
                  <a:pt x="9007" y="5822"/>
                </a:lnTo>
                <a:lnTo>
                  <a:pt x="8998" y="5809"/>
                </a:lnTo>
                <a:lnTo>
                  <a:pt x="8989" y="5795"/>
                </a:lnTo>
                <a:lnTo>
                  <a:pt x="8982" y="5781"/>
                </a:lnTo>
                <a:lnTo>
                  <a:pt x="8975" y="5766"/>
                </a:lnTo>
                <a:lnTo>
                  <a:pt x="8969" y="5752"/>
                </a:lnTo>
                <a:lnTo>
                  <a:pt x="8962" y="5737"/>
                </a:lnTo>
                <a:lnTo>
                  <a:pt x="8957" y="5722"/>
                </a:lnTo>
                <a:lnTo>
                  <a:pt x="8953" y="5707"/>
                </a:lnTo>
                <a:lnTo>
                  <a:pt x="8948" y="5690"/>
                </a:lnTo>
                <a:lnTo>
                  <a:pt x="8944" y="5675"/>
                </a:lnTo>
                <a:lnTo>
                  <a:pt x="8941" y="5659"/>
                </a:lnTo>
                <a:lnTo>
                  <a:pt x="8939" y="5643"/>
                </a:lnTo>
                <a:lnTo>
                  <a:pt x="8935" y="5622"/>
                </a:lnTo>
                <a:lnTo>
                  <a:pt x="8933" y="5600"/>
                </a:lnTo>
                <a:lnTo>
                  <a:pt x="8933" y="5578"/>
                </a:lnTo>
                <a:lnTo>
                  <a:pt x="8933" y="5557"/>
                </a:lnTo>
                <a:lnTo>
                  <a:pt x="8934" y="5535"/>
                </a:lnTo>
                <a:lnTo>
                  <a:pt x="8936" y="5514"/>
                </a:lnTo>
                <a:lnTo>
                  <a:pt x="8940" y="5492"/>
                </a:lnTo>
                <a:lnTo>
                  <a:pt x="8943" y="5470"/>
                </a:lnTo>
                <a:lnTo>
                  <a:pt x="8948" y="5448"/>
                </a:lnTo>
                <a:lnTo>
                  <a:pt x="8954" y="5425"/>
                </a:lnTo>
                <a:lnTo>
                  <a:pt x="8960" y="5404"/>
                </a:lnTo>
                <a:lnTo>
                  <a:pt x="8968" y="5381"/>
                </a:lnTo>
                <a:lnTo>
                  <a:pt x="8976" y="5360"/>
                </a:lnTo>
                <a:lnTo>
                  <a:pt x="8986" y="5337"/>
                </a:lnTo>
                <a:lnTo>
                  <a:pt x="8996" y="5315"/>
                </a:lnTo>
                <a:lnTo>
                  <a:pt x="9007" y="5293"/>
                </a:lnTo>
                <a:lnTo>
                  <a:pt x="9019" y="5270"/>
                </a:lnTo>
                <a:lnTo>
                  <a:pt x="9031" y="5249"/>
                </a:lnTo>
                <a:lnTo>
                  <a:pt x="9045" y="5226"/>
                </a:lnTo>
                <a:lnTo>
                  <a:pt x="9059" y="5205"/>
                </a:lnTo>
                <a:lnTo>
                  <a:pt x="9076" y="5183"/>
                </a:lnTo>
                <a:lnTo>
                  <a:pt x="9092" y="5162"/>
                </a:lnTo>
                <a:lnTo>
                  <a:pt x="9109" y="5139"/>
                </a:lnTo>
                <a:lnTo>
                  <a:pt x="9126" y="5117"/>
                </a:lnTo>
                <a:lnTo>
                  <a:pt x="9145" y="5096"/>
                </a:lnTo>
                <a:lnTo>
                  <a:pt x="9164" y="5075"/>
                </a:lnTo>
                <a:lnTo>
                  <a:pt x="9185" y="5054"/>
                </a:lnTo>
                <a:lnTo>
                  <a:pt x="9206" y="5033"/>
                </a:lnTo>
                <a:lnTo>
                  <a:pt x="9228" y="5012"/>
                </a:lnTo>
                <a:lnTo>
                  <a:pt x="9250" y="4991"/>
                </a:lnTo>
                <a:lnTo>
                  <a:pt x="9274" y="4971"/>
                </a:lnTo>
                <a:lnTo>
                  <a:pt x="9298" y="4952"/>
                </a:lnTo>
                <a:lnTo>
                  <a:pt x="9400" y="4868"/>
                </a:lnTo>
                <a:lnTo>
                  <a:pt x="9504" y="4785"/>
                </a:lnTo>
                <a:lnTo>
                  <a:pt x="9609" y="4703"/>
                </a:lnTo>
                <a:lnTo>
                  <a:pt x="9713" y="4622"/>
                </a:lnTo>
                <a:lnTo>
                  <a:pt x="9820" y="4541"/>
                </a:lnTo>
                <a:lnTo>
                  <a:pt x="9927" y="4463"/>
                </a:lnTo>
                <a:lnTo>
                  <a:pt x="10035" y="4383"/>
                </a:lnTo>
                <a:lnTo>
                  <a:pt x="10144" y="4305"/>
                </a:lnTo>
                <a:lnTo>
                  <a:pt x="10254" y="4228"/>
                </a:lnTo>
                <a:lnTo>
                  <a:pt x="10364" y="4152"/>
                </a:lnTo>
                <a:lnTo>
                  <a:pt x="10475" y="4077"/>
                </a:lnTo>
                <a:lnTo>
                  <a:pt x="10586" y="4002"/>
                </a:lnTo>
                <a:lnTo>
                  <a:pt x="10699" y="3928"/>
                </a:lnTo>
                <a:lnTo>
                  <a:pt x="10813" y="3856"/>
                </a:lnTo>
                <a:lnTo>
                  <a:pt x="10926" y="3784"/>
                </a:lnTo>
                <a:lnTo>
                  <a:pt x="11040" y="3713"/>
                </a:lnTo>
                <a:lnTo>
                  <a:pt x="12379" y="2916"/>
                </a:lnTo>
                <a:lnTo>
                  <a:pt x="12229" y="2750"/>
                </a:lnTo>
                <a:lnTo>
                  <a:pt x="12074" y="2588"/>
                </a:lnTo>
                <a:lnTo>
                  <a:pt x="11915" y="2431"/>
                </a:lnTo>
                <a:lnTo>
                  <a:pt x="11752" y="2277"/>
                </a:lnTo>
                <a:lnTo>
                  <a:pt x="11586" y="2128"/>
                </a:lnTo>
                <a:lnTo>
                  <a:pt x="11416" y="1983"/>
                </a:lnTo>
                <a:lnTo>
                  <a:pt x="11241" y="1842"/>
                </a:lnTo>
                <a:lnTo>
                  <a:pt x="11063" y="1706"/>
                </a:lnTo>
                <a:lnTo>
                  <a:pt x="10882" y="1575"/>
                </a:lnTo>
                <a:lnTo>
                  <a:pt x="10696" y="1448"/>
                </a:lnTo>
                <a:lnTo>
                  <a:pt x="10508" y="1325"/>
                </a:lnTo>
                <a:lnTo>
                  <a:pt x="10316" y="1207"/>
                </a:lnTo>
                <a:lnTo>
                  <a:pt x="10121" y="1095"/>
                </a:lnTo>
                <a:lnTo>
                  <a:pt x="9922" y="988"/>
                </a:lnTo>
                <a:lnTo>
                  <a:pt x="9722" y="884"/>
                </a:lnTo>
                <a:lnTo>
                  <a:pt x="9517" y="787"/>
                </a:lnTo>
                <a:lnTo>
                  <a:pt x="9310" y="696"/>
                </a:lnTo>
                <a:lnTo>
                  <a:pt x="9099" y="609"/>
                </a:lnTo>
                <a:lnTo>
                  <a:pt x="8887" y="527"/>
                </a:lnTo>
                <a:lnTo>
                  <a:pt x="8671" y="451"/>
                </a:lnTo>
                <a:lnTo>
                  <a:pt x="8453" y="381"/>
                </a:lnTo>
                <a:lnTo>
                  <a:pt x="8232" y="317"/>
                </a:lnTo>
                <a:lnTo>
                  <a:pt x="8010" y="257"/>
                </a:lnTo>
                <a:lnTo>
                  <a:pt x="7784" y="205"/>
                </a:lnTo>
                <a:lnTo>
                  <a:pt x="7557" y="157"/>
                </a:lnTo>
                <a:lnTo>
                  <a:pt x="7327" y="116"/>
                </a:lnTo>
                <a:lnTo>
                  <a:pt x="7095" y="81"/>
                </a:lnTo>
                <a:lnTo>
                  <a:pt x="6861" y="52"/>
                </a:lnTo>
                <a:lnTo>
                  <a:pt x="6625" y="29"/>
                </a:lnTo>
                <a:lnTo>
                  <a:pt x="6388" y="13"/>
                </a:lnTo>
                <a:lnTo>
                  <a:pt x="6149" y="3"/>
                </a:lnTo>
                <a:lnTo>
                  <a:pt x="5908" y="0"/>
                </a:lnTo>
                <a:lnTo>
                  <a:pt x="5694" y="2"/>
                </a:lnTo>
                <a:lnTo>
                  <a:pt x="5482" y="11"/>
                </a:lnTo>
                <a:lnTo>
                  <a:pt x="5270" y="23"/>
                </a:lnTo>
                <a:lnTo>
                  <a:pt x="5061" y="41"/>
                </a:lnTo>
                <a:lnTo>
                  <a:pt x="4853" y="64"/>
                </a:lnTo>
                <a:lnTo>
                  <a:pt x="4646" y="92"/>
                </a:lnTo>
                <a:lnTo>
                  <a:pt x="4441" y="124"/>
                </a:lnTo>
                <a:lnTo>
                  <a:pt x="4238" y="162"/>
                </a:lnTo>
                <a:lnTo>
                  <a:pt x="4036" y="204"/>
                </a:lnTo>
                <a:lnTo>
                  <a:pt x="3835" y="250"/>
                </a:lnTo>
                <a:lnTo>
                  <a:pt x="3637" y="302"/>
                </a:lnTo>
                <a:lnTo>
                  <a:pt x="3441" y="358"/>
                </a:lnTo>
                <a:lnTo>
                  <a:pt x="3246" y="418"/>
                </a:lnTo>
                <a:lnTo>
                  <a:pt x="3054" y="483"/>
                </a:lnTo>
                <a:lnTo>
                  <a:pt x="2863" y="551"/>
                </a:lnTo>
                <a:lnTo>
                  <a:pt x="2676" y="625"/>
                </a:lnTo>
                <a:lnTo>
                  <a:pt x="2489" y="702"/>
                </a:lnTo>
                <a:lnTo>
                  <a:pt x="2306" y="784"/>
                </a:lnTo>
                <a:lnTo>
                  <a:pt x="2124" y="870"/>
                </a:lnTo>
                <a:lnTo>
                  <a:pt x="1945" y="961"/>
                </a:lnTo>
                <a:lnTo>
                  <a:pt x="1768" y="1055"/>
                </a:lnTo>
                <a:lnTo>
                  <a:pt x="1594" y="1153"/>
                </a:lnTo>
                <a:lnTo>
                  <a:pt x="1422" y="1255"/>
                </a:lnTo>
                <a:lnTo>
                  <a:pt x="1253" y="1360"/>
                </a:lnTo>
                <a:lnTo>
                  <a:pt x="1087" y="1469"/>
                </a:lnTo>
                <a:lnTo>
                  <a:pt x="923" y="1582"/>
                </a:lnTo>
                <a:lnTo>
                  <a:pt x="762" y="1700"/>
                </a:lnTo>
                <a:lnTo>
                  <a:pt x="603" y="1820"/>
                </a:lnTo>
                <a:lnTo>
                  <a:pt x="448" y="1944"/>
                </a:lnTo>
                <a:lnTo>
                  <a:pt x="296" y="2071"/>
                </a:lnTo>
                <a:lnTo>
                  <a:pt x="146" y="2202"/>
                </a:lnTo>
                <a:lnTo>
                  <a:pt x="0" y="2336"/>
                </a:lnTo>
                <a:lnTo>
                  <a:pt x="852" y="3740"/>
                </a:lnTo>
                <a:lnTo>
                  <a:pt x="923" y="3853"/>
                </a:lnTo>
                <a:lnTo>
                  <a:pt x="994" y="3965"/>
                </a:lnTo>
                <a:lnTo>
                  <a:pt x="1065" y="4077"/>
                </a:lnTo>
                <a:lnTo>
                  <a:pt x="1138" y="4188"/>
                </a:lnTo>
                <a:lnTo>
                  <a:pt x="1212" y="4298"/>
                </a:lnTo>
                <a:lnTo>
                  <a:pt x="1286" y="4408"/>
                </a:lnTo>
                <a:lnTo>
                  <a:pt x="1362" y="4516"/>
                </a:lnTo>
                <a:lnTo>
                  <a:pt x="1438" y="4624"/>
                </a:lnTo>
                <a:lnTo>
                  <a:pt x="1515" y="4732"/>
                </a:lnTo>
                <a:lnTo>
                  <a:pt x="1594" y="4838"/>
                </a:lnTo>
                <a:lnTo>
                  <a:pt x="1672" y="4944"/>
                </a:lnTo>
                <a:lnTo>
                  <a:pt x="1752" y="5048"/>
                </a:lnTo>
                <a:lnTo>
                  <a:pt x="1832" y="5153"/>
                </a:lnTo>
                <a:lnTo>
                  <a:pt x="1913" y="5255"/>
                </a:lnTo>
                <a:lnTo>
                  <a:pt x="1995" y="5358"/>
                </a:lnTo>
                <a:lnTo>
                  <a:pt x="2077" y="545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94771" tIns="97385" rIns="194771" bIns="97385" numCol="1" anchor="t" anchorCtr="0" compatLnSpc="1">
            <a:prstTxWarp prst="textNoShape">
              <a:avLst/>
            </a:prstTxWarp>
          </a:bodyPr>
          <a:lstStyle/>
          <a:p>
            <a:endParaRPr lang="en-US" sz="3835" dirty="0"/>
          </a:p>
        </p:txBody>
      </p:sp>
      <p:sp>
        <p:nvSpPr>
          <p:cNvPr id="12" name="Freeform 8">
            <a:extLst>
              <a:ext uri="{FF2B5EF4-FFF2-40B4-BE49-F238E27FC236}">
                <a16:creationId xmlns:a16="http://schemas.microsoft.com/office/drawing/2014/main" id="{D10B8D77-C002-5BCE-CA48-ABE45A9ABFCD}"/>
              </a:ext>
            </a:extLst>
          </p:cNvPr>
          <p:cNvSpPr>
            <a:spLocks/>
          </p:cNvSpPr>
          <p:nvPr/>
        </p:nvSpPr>
        <p:spPr bwMode="auto">
          <a:xfrm rot="2700000">
            <a:off x="4001274" y="3538271"/>
            <a:ext cx="2627572" cy="1821969"/>
          </a:xfrm>
          <a:custGeom>
            <a:avLst/>
            <a:gdLst>
              <a:gd name="T0" fmla="*/ 9669 w 11777"/>
              <a:gd name="T1" fmla="*/ 3112 h 8171"/>
              <a:gd name="T2" fmla="*/ 9476 w 11777"/>
              <a:gd name="T3" fmla="*/ 3053 h 8171"/>
              <a:gd name="T4" fmla="*/ 9341 w 11777"/>
              <a:gd name="T5" fmla="*/ 3078 h 8171"/>
              <a:gd name="T6" fmla="*/ 9199 w 11777"/>
              <a:gd name="T7" fmla="*/ 3222 h 8171"/>
              <a:gd name="T8" fmla="*/ 8983 w 11777"/>
              <a:gd name="T9" fmla="*/ 3720 h 8171"/>
              <a:gd name="T10" fmla="*/ 8854 w 11777"/>
              <a:gd name="T11" fmla="*/ 4018 h 8171"/>
              <a:gd name="T12" fmla="*/ 8638 w 11777"/>
              <a:gd name="T13" fmla="*/ 4302 h 8171"/>
              <a:gd name="T14" fmla="*/ 8312 w 11777"/>
              <a:gd name="T15" fmla="*/ 4489 h 8171"/>
              <a:gd name="T16" fmla="*/ 7904 w 11777"/>
              <a:gd name="T17" fmla="*/ 4565 h 8171"/>
              <a:gd name="T18" fmla="*/ 7508 w 11777"/>
              <a:gd name="T19" fmla="*/ 4525 h 8171"/>
              <a:gd name="T20" fmla="*/ 7056 w 11777"/>
              <a:gd name="T21" fmla="*/ 4352 h 8171"/>
              <a:gd name="T22" fmla="*/ 6582 w 11777"/>
              <a:gd name="T23" fmla="*/ 3945 h 8171"/>
              <a:gd name="T24" fmla="*/ 6353 w 11777"/>
              <a:gd name="T25" fmla="*/ 3438 h 8171"/>
              <a:gd name="T26" fmla="*/ 6414 w 11777"/>
              <a:gd name="T27" fmla="*/ 2946 h 8171"/>
              <a:gd name="T28" fmla="*/ 6635 w 11777"/>
              <a:gd name="T29" fmla="*/ 2650 h 8171"/>
              <a:gd name="T30" fmla="*/ 7181 w 11777"/>
              <a:gd name="T31" fmla="*/ 2162 h 8171"/>
              <a:gd name="T32" fmla="*/ 7570 w 11777"/>
              <a:gd name="T33" fmla="*/ 1847 h 8171"/>
              <a:gd name="T34" fmla="*/ 7692 w 11777"/>
              <a:gd name="T35" fmla="*/ 1674 h 8171"/>
              <a:gd name="T36" fmla="*/ 7750 w 11777"/>
              <a:gd name="T37" fmla="*/ 1490 h 8171"/>
              <a:gd name="T38" fmla="*/ 7729 w 11777"/>
              <a:gd name="T39" fmla="*/ 1273 h 8171"/>
              <a:gd name="T40" fmla="*/ 7526 w 11777"/>
              <a:gd name="T41" fmla="*/ 983 h 8171"/>
              <a:gd name="T42" fmla="*/ 6736 w 11777"/>
              <a:gd name="T43" fmla="*/ 402 h 8171"/>
              <a:gd name="T44" fmla="*/ 5949 w 11777"/>
              <a:gd name="T45" fmla="*/ 269 h 8171"/>
              <a:gd name="T46" fmla="*/ 5341 w 11777"/>
              <a:gd name="T47" fmla="*/ 1138 h 8171"/>
              <a:gd name="T48" fmla="*/ 5032 w 11777"/>
              <a:gd name="T49" fmla="*/ 1517 h 8171"/>
              <a:gd name="T50" fmla="*/ 4847 w 11777"/>
              <a:gd name="T51" fmla="*/ 1646 h 8171"/>
              <a:gd name="T52" fmla="*/ 4643 w 11777"/>
              <a:gd name="T53" fmla="*/ 1711 h 8171"/>
              <a:gd name="T54" fmla="*/ 4383 w 11777"/>
              <a:gd name="T55" fmla="*/ 1703 h 8171"/>
              <a:gd name="T56" fmla="*/ 4070 w 11777"/>
              <a:gd name="T57" fmla="*/ 1556 h 8171"/>
              <a:gd name="T58" fmla="*/ 3755 w 11777"/>
              <a:gd name="T59" fmla="*/ 1213 h 8171"/>
              <a:gd name="T60" fmla="*/ 3165 w 11777"/>
              <a:gd name="T61" fmla="*/ 538 h 8171"/>
              <a:gd name="T62" fmla="*/ 2934 w 11777"/>
              <a:gd name="T63" fmla="*/ 365 h 8171"/>
              <a:gd name="T64" fmla="*/ 2630 w 11777"/>
              <a:gd name="T65" fmla="*/ 310 h 8171"/>
              <a:gd name="T66" fmla="*/ 2271 w 11777"/>
              <a:gd name="T67" fmla="*/ 416 h 8171"/>
              <a:gd name="T68" fmla="*/ 1949 w 11777"/>
              <a:gd name="T69" fmla="*/ 673 h 8171"/>
              <a:gd name="T70" fmla="*/ 1705 w 11777"/>
              <a:gd name="T71" fmla="*/ 1049 h 8171"/>
              <a:gd name="T72" fmla="*/ 1576 w 11777"/>
              <a:gd name="T73" fmla="*/ 1583 h 8171"/>
              <a:gd name="T74" fmla="*/ 1655 w 11777"/>
              <a:gd name="T75" fmla="*/ 2072 h 8171"/>
              <a:gd name="T76" fmla="*/ 1926 w 11777"/>
              <a:gd name="T77" fmla="*/ 2416 h 8171"/>
              <a:gd name="T78" fmla="*/ 2146 w 11777"/>
              <a:gd name="T79" fmla="*/ 2523 h 8171"/>
              <a:gd name="T80" fmla="*/ 2433 w 11777"/>
              <a:gd name="T81" fmla="*/ 2648 h 8171"/>
              <a:gd name="T82" fmla="*/ 2717 w 11777"/>
              <a:gd name="T83" fmla="*/ 2767 h 8171"/>
              <a:gd name="T84" fmla="*/ 2905 w 11777"/>
              <a:gd name="T85" fmla="*/ 2869 h 8171"/>
              <a:gd name="T86" fmla="*/ 3026 w 11777"/>
              <a:gd name="T87" fmla="*/ 3004 h 8171"/>
              <a:gd name="T88" fmla="*/ 3083 w 11777"/>
              <a:gd name="T89" fmla="*/ 3154 h 8171"/>
              <a:gd name="T90" fmla="*/ 3075 w 11777"/>
              <a:gd name="T91" fmla="*/ 3365 h 8171"/>
              <a:gd name="T92" fmla="*/ 2978 w 11777"/>
              <a:gd name="T93" fmla="*/ 3587 h 8171"/>
              <a:gd name="T94" fmla="*/ 2796 w 11777"/>
              <a:gd name="T95" fmla="*/ 3801 h 8171"/>
              <a:gd name="T96" fmla="*/ 1982 w 11777"/>
              <a:gd name="T97" fmla="*/ 4434 h 8171"/>
              <a:gd name="T98" fmla="*/ 897 w 11777"/>
              <a:gd name="T99" fmla="*/ 5149 h 8171"/>
              <a:gd name="T100" fmla="*/ 1446 w 11777"/>
              <a:gd name="T101" fmla="*/ 6832 h 8171"/>
              <a:gd name="T102" fmla="*/ 3319 w 11777"/>
              <a:gd name="T103" fmla="*/ 7725 h 8171"/>
              <a:gd name="T104" fmla="*/ 5409 w 11777"/>
              <a:gd name="T105" fmla="*/ 8146 h 8171"/>
              <a:gd name="T106" fmla="*/ 7474 w 11777"/>
              <a:gd name="T107" fmla="*/ 8057 h 8171"/>
              <a:gd name="T108" fmla="*/ 9352 w 11777"/>
              <a:gd name="T109" fmla="*/ 7525 h 8171"/>
              <a:gd name="T110" fmla="*/ 11030 w 11777"/>
              <a:gd name="T111" fmla="*/ 6605 h 8171"/>
              <a:gd name="T112" fmla="*/ 10885 w 11777"/>
              <a:gd name="T113" fmla="*/ 4625 h 8171"/>
              <a:gd name="T114" fmla="*/ 10107 w 11777"/>
              <a:gd name="T115" fmla="*/ 3554 h 81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1777" h="8171">
                <a:moveTo>
                  <a:pt x="9942" y="3349"/>
                </a:moveTo>
                <a:lnTo>
                  <a:pt x="9913" y="3314"/>
                </a:lnTo>
                <a:lnTo>
                  <a:pt x="9883" y="3282"/>
                </a:lnTo>
                <a:lnTo>
                  <a:pt x="9853" y="3252"/>
                </a:lnTo>
                <a:lnTo>
                  <a:pt x="9822" y="3223"/>
                </a:lnTo>
                <a:lnTo>
                  <a:pt x="9792" y="3197"/>
                </a:lnTo>
                <a:lnTo>
                  <a:pt x="9762" y="3172"/>
                </a:lnTo>
                <a:lnTo>
                  <a:pt x="9731" y="3149"/>
                </a:lnTo>
                <a:lnTo>
                  <a:pt x="9701" y="3130"/>
                </a:lnTo>
                <a:lnTo>
                  <a:pt x="9669" y="3112"/>
                </a:lnTo>
                <a:lnTo>
                  <a:pt x="9639" y="3096"/>
                </a:lnTo>
                <a:lnTo>
                  <a:pt x="9609" y="3083"/>
                </a:lnTo>
                <a:lnTo>
                  <a:pt x="9579" y="3072"/>
                </a:lnTo>
                <a:lnTo>
                  <a:pt x="9564" y="3068"/>
                </a:lnTo>
                <a:lnTo>
                  <a:pt x="9548" y="3063"/>
                </a:lnTo>
                <a:lnTo>
                  <a:pt x="9534" y="3060"/>
                </a:lnTo>
                <a:lnTo>
                  <a:pt x="9519" y="3057"/>
                </a:lnTo>
                <a:lnTo>
                  <a:pt x="9504" y="3055"/>
                </a:lnTo>
                <a:lnTo>
                  <a:pt x="9490" y="3054"/>
                </a:lnTo>
                <a:lnTo>
                  <a:pt x="9476" y="3053"/>
                </a:lnTo>
                <a:lnTo>
                  <a:pt x="9462" y="3051"/>
                </a:lnTo>
                <a:lnTo>
                  <a:pt x="9447" y="3053"/>
                </a:lnTo>
                <a:lnTo>
                  <a:pt x="9432" y="3054"/>
                </a:lnTo>
                <a:lnTo>
                  <a:pt x="9418" y="3055"/>
                </a:lnTo>
                <a:lnTo>
                  <a:pt x="9404" y="3058"/>
                </a:lnTo>
                <a:lnTo>
                  <a:pt x="9391" y="3060"/>
                </a:lnTo>
                <a:lnTo>
                  <a:pt x="9378" y="3064"/>
                </a:lnTo>
                <a:lnTo>
                  <a:pt x="9365" y="3069"/>
                </a:lnTo>
                <a:lnTo>
                  <a:pt x="9353" y="3073"/>
                </a:lnTo>
                <a:lnTo>
                  <a:pt x="9341" y="3078"/>
                </a:lnTo>
                <a:lnTo>
                  <a:pt x="9331" y="3084"/>
                </a:lnTo>
                <a:lnTo>
                  <a:pt x="9320" y="3090"/>
                </a:lnTo>
                <a:lnTo>
                  <a:pt x="9309" y="3097"/>
                </a:lnTo>
                <a:lnTo>
                  <a:pt x="9288" y="3112"/>
                </a:lnTo>
                <a:lnTo>
                  <a:pt x="9270" y="3128"/>
                </a:lnTo>
                <a:lnTo>
                  <a:pt x="9254" y="3145"/>
                </a:lnTo>
                <a:lnTo>
                  <a:pt x="9238" y="3163"/>
                </a:lnTo>
                <a:lnTo>
                  <a:pt x="9224" y="3182"/>
                </a:lnTo>
                <a:lnTo>
                  <a:pt x="9211" y="3201"/>
                </a:lnTo>
                <a:lnTo>
                  <a:pt x="9199" y="3222"/>
                </a:lnTo>
                <a:lnTo>
                  <a:pt x="9188" y="3242"/>
                </a:lnTo>
                <a:lnTo>
                  <a:pt x="9178" y="3263"/>
                </a:lnTo>
                <a:lnTo>
                  <a:pt x="9170" y="3282"/>
                </a:lnTo>
                <a:lnTo>
                  <a:pt x="9142" y="3351"/>
                </a:lnTo>
                <a:lnTo>
                  <a:pt x="9114" y="3418"/>
                </a:lnTo>
                <a:lnTo>
                  <a:pt x="9086" y="3483"/>
                </a:lnTo>
                <a:lnTo>
                  <a:pt x="9059" y="3546"/>
                </a:lnTo>
                <a:lnTo>
                  <a:pt x="9033" y="3607"/>
                </a:lnTo>
                <a:lnTo>
                  <a:pt x="9007" y="3665"/>
                </a:lnTo>
                <a:lnTo>
                  <a:pt x="8983" y="3720"/>
                </a:lnTo>
                <a:lnTo>
                  <a:pt x="8960" y="3773"/>
                </a:lnTo>
                <a:lnTo>
                  <a:pt x="8946" y="3804"/>
                </a:lnTo>
                <a:lnTo>
                  <a:pt x="8933" y="3834"/>
                </a:lnTo>
                <a:lnTo>
                  <a:pt x="8921" y="3863"/>
                </a:lnTo>
                <a:lnTo>
                  <a:pt x="8909" y="3891"/>
                </a:lnTo>
                <a:lnTo>
                  <a:pt x="8898" y="3916"/>
                </a:lnTo>
                <a:lnTo>
                  <a:pt x="8887" y="3940"/>
                </a:lnTo>
                <a:lnTo>
                  <a:pt x="8877" y="3964"/>
                </a:lnTo>
                <a:lnTo>
                  <a:pt x="8869" y="3984"/>
                </a:lnTo>
                <a:lnTo>
                  <a:pt x="8854" y="4018"/>
                </a:lnTo>
                <a:lnTo>
                  <a:pt x="8839" y="4050"/>
                </a:lnTo>
                <a:lnTo>
                  <a:pt x="8821" y="4081"/>
                </a:lnTo>
                <a:lnTo>
                  <a:pt x="8802" y="4112"/>
                </a:lnTo>
                <a:lnTo>
                  <a:pt x="8782" y="4143"/>
                </a:lnTo>
                <a:lnTo>
                  <a:pt x="8761" y="4171"/>
                </a:lnTo>
                <a:lnTo>
                  <a:pt x="8739" y="4200"/>
                </a:lnTo>
                <a:lnTo>
                  <a:pt x="8716" y="4227"/>
                </a:lnTo>
                <a:lnTo>
                  <a:pt x="8691" y="4252"/>
                </a:lnTo>
                <a:lnTo>
                  <a:pt x="8665" y="4278"/>
                </a:lnTo>
                <a:lnTo>
                  <a:pt x="8638" y="4302"/>
                </a:lnTo>
                <a:lnTo>
                  <a:pt x="8610" y="4326"/>
                </a:lnTo>
                <a:lnTo>
                  <a:pt x="8581" y="4348"/>
                </a:lnTo>
                <a:lnTo>
                  <a:pt x="8550" y="4370"/>
                </a:lnTo>
                <a:lnTo>
                  <a:pt x="8519" y="4390"/>
                </a:lnTo>
                <a:lnTo>
                  <a:pt x="8487" y="4410"/>
                </a:lnTo>
                <a:lnTo>
                  <a:pt x="8453" y="4428"/>
                </a:lnTo>
                <a:lnTo>
                  <a:pt x="8420" y="4445"/>
                </a:lnTo>
                <a:lnTo>
                  <a:pt x="8384" y="4461"/>
                </a:lnTo>
                <a:lnTo>
                  <a:pt x="8349" y="4476"/>
                </a:lnTo>
                <a:lnTo>
                  <a:pt x="8312" y="4489"/>
                </a:lnTo>
                <a:lnTo>
                  <a:pt x="8274" y="4502"/>
                </a:lnTo>
                <a:lnTo>
                  <a:pt x="8235" y="4514"/>
                </a:lnTo>
                <a:lnTo>
                  <a:pt x="8197" y="4525"/>
                </a:lnTo>
                <a:lnTo>
                  <a:pt x="8157" y="4535"/>
                </a:lnTo>
                <a:lnTo>
                  <a:pt x="8117" y="4542"/>
                </a:lnTo>
                <a:lnTo>
                  <a:pt x="8075" y="4550"/>
                </a:lnTo>
                <a:lnTo>
                  <a:pt x="8034" y="4555"/>
                </a:lnTo>
                <a:lnTo>
                  <a:pt x="7991" y="4559"/>
                </a:lnTo>
                <a:lnTo>
                  <a:pt x="7947" y="4563"/>
                </a:lnTo>
                <a:lnTo>
                  <a:pt x="7904" y="4565"/>
                </a:lnTo>
                <a:lnTo>
                  <a:pt x="7860" y="4565"/>
                </a:lnTo>
                <a:lnTo>
                  <a:pt x="7821" y="4565"/>
                </a:lnTo>
                <a:lnTo>
                  <a:pt x="7782" y="4564"/>
                </a:lnTo>
                <a:lnTo>
                  <a:pt x="7743" y="4560"/>
                </a:lnTo>
                <a:lnTo>
                  <a:pt x="7705" y="4557"/>
                </a:lnTo>
                <a:lnTo>
                  <a:pt x="7665" y="4553"/>
                </a:lnTo>
                <a:lnTo>
                  <a:pt x="7626" y="4548"/>
                </a:lnTo>
                <a:lnTo>
                  <a:pt x="7587" y="4541"/>
                </a:lnTo>
                <a:lnTo>
                  <a:pt x="7548" y="4534"/>
                </a:lnTo>
                <a:lnTo>
                  <a:pt x="7508" y="4525"/>
                </a:lnTo>
                <a:lnTo>
                  <a:pt x="7469" y="4515"/>
                </a:lnTo>
                <a:lnTo>
                  <a:pt x="7431" y="4506"/>
                </a:lnTo>
                <a:lnTo>
                  <a:pt x="7392" y="4494"/>
                </a:lnTo>
                <a:lnTo>
                  <a:pt x="7354" y="4482"/>
                </a:lnTo>
                <a:lnTo>
                  <a:pt x="7315" y="4469"/>
                </a:lnTo>
                <a:lnTo>
                  <a:pt x="7277" y="4455"/>
                </a:lnTo>
                <a:lnTo>
                  <a:pt x="7240" y="4440"/>
                </a:lnTo>
                <a:lnTo>
                  <a:pt x="7177" y="4413"/>
                </a:lnTo>
                <a:lnTo>
                  <a:pt x="7116" y="4383"/>
                </a:lnTo>
                <a:lnTo>
                  <a:pt x="7056" y="4352"/>
                </a:lnTo>
                <a:lnTo>
                  <a:pt x="6999" y="4318"/>
                </a:lnTo>
                <a:lnTo>
                  <a:pt x="6944" y="4284"/>
                </a:lnTo>
                <a:lnTo>
                  <a:pt x="6891" y="4246"/>
                </a:lnTo>
                <a:lnTo>
                  <a:pt x="6840" y="4207"/>
                </a:lnTo>
                <a:lnTo>
                  <a:pt x="6792" y="4167"/>
                </a:lnTo>
                <a:lnTo>
                  <a:pt x="6744" y="4125"/>
                </a:lnTo>
                <a:lnTo>
                  <a:pt x="6700" y="4082"/>
                </a:lnTo>
                <a:lnTo>
                  <a:pt x="6658" y="4038"/>
                </a:lnTo>
                <a:lnTo>
                  <a:pt x="6619" y="3993"/>
                </a:lnTo>
                <a:lnTo>
                  <a:pt x="6582" y="3945"/>
                </a:lnTo>
                <a:lnTo>
                  <a:pt x="6547" y="3898"/>
                </a:lnTo>
                <a:lnTo>
                  <a:pt x="6515" y="3850"/>
                </a:lnTo>
                <a:lnTo>
                  <a:pt x="6484" y="3800"/>
                </a:lnTo>
                <a:lnTo>
                  <a:pt x="6457" y="3749"/>
                </a:lnTo>
                <a:lnTo>
                  <a:pt x="6434" y="3699"/>
                </a:lnTo>
                <a:lnTo>
                  <a:pt x="6411" y="3647"/>
                </a:lnTo>
                <a:lnTo>
                  <a:pt x="6393" y="3595"/>
                </a:lnTo>
                <a:lnTo>
                  <a:pt x="6377" y="3544"/>
                </a:lnTo>
                <a:lnTo>
                  <a:pt x="6364" y="3491"/>
                </a:lnTo>
                <a:lnTo>
                  <a:pt x="6353" y="3438"/>
                </a:lnTo>
                <a:lnTo>
                  <a:pt x="6346" y="3385"/>
                </a:lnTo>
                <a:lnTo>
                  <a:pt x="6342" y="3333"/>
                </a:lnTo>
                <a:lnTo>
                  <a:pt x="6341" y="3280"/>
                </a:lnTo>
                <a:lnTo>
                  <a:pt x="6343" y="3227"/>
                </a:lnTo>
                <a:lnTo>
                  <a:pt x="6349" y="3175"/>
                </a:lnTo>
                <a:lnTo>
                  <a:pt x="6357" y="3124"/>
                </a:lnTo>
                <a:lnTo>
                  <a:pt x="6369" y="3072"/>
                </a:lnTo>
                <a:lnTo>
                  <a:pt x="6384" y="3021"/>
                </a:lnTo>
                <a:lnTo>
                  <a:pt x="6402" y="2972"/>
                </a:lnTo>
                <a:lnTo>
                  <a:pt x="6414" y="2946"/>
                </a:lnTo>
                <a:lnTo>
                  <a:pt x="6428" y="2919"/>
                </a:lnTo>
                <a:lnTo>
                  <a:pt x="6443" y="2892"/>
                </a:lnTo>
                <a:lnTo>
                  <a:pt x="6462" y="2864"/>
                </a:lnTo>
                <a:lnTo>
                  <a:pt x="6481" y="2835"/>
                </a:lnTo>
                <a:lnTo>
                  <a:pt x="6503" y="2806"/>
                </a:lnTo>
                <a:lnTo>
                  <a:pt x="6527" y="2776"/>
                </a:lnTo>
                <a:lnTo>
                  <a:pt x="6551" y="2744"/>
                </a:lnTo>
                <a:lnTo>
                  <a:pt x="6578" y="2713"/>
                </a:lnTo>
                <a:lnTo>
                  <a:pt x="6606" y="2682"/>
                </a:lnTo>
                <a:lnTo>
                  <a:pt x="6635" y="2650"/>
                </a:lnTo>
                <a:lnTo>
                  <a:pt x="6667" y="2617"/>
                </a:lnTo>
                <a:lnTo>
                  <a:pt x="6698" y="2585"/>
                </a:lnTo>
                <a:lnTo>
                  <a:pt x="6732" y="2553"/>
                </a:lnTo>
                <a:lnTo>
                  <a:pt x="6766" y="2519"/>
                </a:lnTo>
                <a:lnTo>
                  <a:pt x="6801" y="2486"/>
                </a:lnTo>
                <a:lnTo>
                  <a:pt x="6873" y="2420"/>
                </a:lnTo>
                <a:lnTo>
                  <a:pt x="6948" y="2355"/>
                </a:lnTo>
                <a:lnTo>
                  <a:pt x="7025" y="2289"/>
                </a:lnTo>
                <a:lnTo>
                  <a:pt x="7103" y="2225"/>
                </a:lnTo>
                <a:lnTo>
                  <a:pt x="7181" y="2162"/>
                </a:lnTo>
                <a:lnTo>
                  <a:pt x="7259" y="2101"/>
                </a:lnTo>
                <a:lnTo>
                  <a:pt x="7337" y="2043"/>
                </a:lnTo>
                <a:lnTo>
                  <a:pt x="7412" y="1988"/>
                </a:lnTo>
                <a:lnTo>
                  <a:pt x="7451" y="1959"/>
                </a:lnTo>
                <a:lnTo>
                  <a:pt x="7488" y="1928"/>
                </a:lnTo>
                <a:lnTo>
                  <a:pt x="7505" y="1913"/>
                </a:lnTo>
                <a:lnTo>
                  <a:pt x="7522" y="1897"/>
                </a:lnTo>
                <a:lnTo>
                  <a:pt x="7539" y="1881"/>
                </a:lnTo>
                <a:lnTo>
                  <a:pt x="7555" y="1864"/>
                </a:lnTo>
                <a:lnTo>
                  <a:pt x="7570" y="1847"/>
                </a:lnTo>
                <a:lnTo>
                  <a:pt x="7585" y="1831"/>
                </a:lnTo>
                <a:lnTo>
                  <a:pt x="7599" y="1814"/>
                </a:lnTo>
                <a:lnTo>
                  <a:pt x="7613" y="1797"/>
                </a:lnTo>
                <a:lnTo>
                  <a:pt x="7626" y="1779"/>
                </a:lnTo>
                <a:lnTo>
                  <a:pt x="7639" y="1762"/>
                </a:lnTo>
                <a:lnTo>
                  <a:pt x="7651" y="1745"/>
                </a:lnTo>
                <a:lnTo>
                  <a:pt x="7661" y="1728"/>
                </a:lnTo>
                <a:lnTo>
                  <a:pt x="7672" y="1709"/>
                </a:lnTo>
                <a:lnTo>
                  <a:pt x="7682" y="1691"/>
                </a:lnTo>
                <a:lnTo>
                  <a:pt x="7692" y="1674"/>
                </a:lnTo>
                <a:lnTo>
                  <a:pt x="7700" y="1655"/>
                </a:lnTo>
                <a:lnTo>
                  <a:pt x="7709" y="1637"/>
                </a:lnTo>
                <a:lnTo>
                  <a:pt x="7715" y="1619"/>
                </a:lnTo>
                <a:lnTo>
                  <a:pt x="7723" y="1601"/>
                </a:lnTo>
                <a:lnTo>
                  <a:pt x="7728" y="1582"/>
                </a:lnTo>
                <a:lnTo>
                  <a:pt x="7735" y="1564"/>
                </a:lnTo>
                <a:lnTo>
                  <a:pt x="7739" y="1546"/>
                </a:lnTo>
                <a:lnTo>
                  <a:pt x="7743" y="1526"/>
                </a:lnTo>
                <a:lnTo>
                  <a:pt x="7747" y="1508"/>
                </a:lnTo>
                <a:lnTo>
                  <a:pt x="7750" y="1490"/>
                </a:lnTo>
                <a:lnTo>
                  <a:pt x="7752" y="1471"/>
                </a:lnTo>
                <a:lnTo>
                  <a:pt x="7753" y="1452"/>
                </a:lnTo>
                <a:lnTo>
                  <a:pt x="7754" y="1434"/>
                </a:lnTo>
                <a:lnTo>
                  <a:pt x="7754" y="1417"/>
                </a:lnTo>
                <a:lnTo>
                  <a:pt x="7753" y="1401"/>
                </a:lnTo>
                <a:lnTo>
                  <a:pt x="7752" y="1385"/>
                </a:lnTo>
                <a:lnTo>
                  <a:pt x="7751" y="1368"/>
                </a:lnTo>
                <a:lnTo>
                  <a:pt x="7746" y="1336"/>
                </a:lnTo>
                <a:lnTo>
                  <a:pt x="7739" y="1304"/>
                </a:lnTo>
                <a:lnTo>
                  <a:pt x="7729" y="1273"/>
                </a:lnTo>
                <a:lnTo>
                  <a:pt x="7719" y="1242"/>
                </a:lnTo>
                <a:lnTo>
                  <a:pt x="7706" y="1211"/>
                </a:lnTo>
                <a:lnTo>
                  <a:pt x="7691" y="1180"/>
                </a:lnTo>
                <a:lnTo>
                  <a:pt x="7672" y="1150"/>
                </a:lnTo>
                <a:lnTo>
                  <a:pt x="7653" y="1121"/>
                </a:lnTo>
                <a:lnTo>
                  <a:pt x="7631" y="1092"/>
                </a:lnTo>
                <a:lnTo>
                  <a:pt x="7609" y="1064"/>
                </a:lnTo>
                <a:lnTo>
                  <a:pt x="7583" y="1037"/>
                </a:lnTo>
                <a:lnTo>
                  <a:pt x="7555" y="1010"/>
                </a:lnTo>
                <a:lnTo>
                  <a:pt x="7526" y="983"/>
                </a:lnTo>
                <a:lnTo>
                  <a:pt x="7494" y="957"/>
                </a:lnTo>
                <a:lnTo>
                  <a:pt x="7412" y="894"/>
                </a:lnTo>
                <a:lnTo>
                  <a:pt x="7329" y="830"/>
                </a:lnTo>
                <a:lnTo>
                  <a:pt x="7246" y="768"/>
                </a:lnTo>
                <a:lnTo>
                  <a:pt x="7162" y="705"/>
                </a:lnTo>
                <a:lnTo>
                  <a:pt x="7078" y="644"/>
                </a:lnTo>
                <a:lnTo>
                  <a:pt x="6993" y="583"/>
                </a:lnTo>
                <a:lnTo>
                  <a:pt x="6907" y="522"/>
                </a:lnTo>
                <a:lnTo>
                  <a:pt x="6822" y="462"/>
                </a:lnTo>
                <a:lnTo>
                  <a:pt x="6736" y="402"/>
                </a:lnTo>
                <a:lnTo>
                  <a:pt x="6648" y="342"/>
                </a:lnTo>
                <a:lnTo>
                  <a:pt x="6562" y="284"/>
                </a:lnTo>
                <a:lnTo>
                  <a:pt x="6475" y="226"/>
                </a:lnTo>
                <a:lnTo>
                  <a:pt x="6386" y="169"/>
                </a:lnTo>
                <a:lnTo>
                  <a:pt x="6298" y="112"/>
                </a:lnTo>
                <a:lnTo>
                  <a:pt x="6209" y="56"/>
                </a:lnTo>
                <a:lnTo>
                  <a:pt x="6121" y="0"/>
                </a:lnTo>
                <a:lnTo>
                  <a:pt x="6064" y="90"/>
                </a:lnTo>
                <a:lnTo>
                  <a:pt x="6008" y="180"/>
                </a:lnTo>
                <a:lnTo>
                  <a:pt x="5949" y="269"/>
                </a:lnTo>
                <a:lnTo>
                  <a:pt x="5891" y="358"/>
                </a:lnTo>
                <a:lnTo>
                  <a:pt x="5832" y="447"/>
                </a:lnTo>
                <a:lnTo>
                  <a:pt x="5772" y="534"/>
                </a:lnTo>
                <a:lnTo>
                  <a:pt x="5713" y="623"/>
                </a:lnTo>
                <a:lnTo>
                  <a:pt x="5653" y="710"/>
                </a:lnTo>
                <a:lnTo>
                  <a:pt x="5591" y="797"/>
                </a:lnTo>
                <a:lnTo>
                  <a:pt x="5530" y="883"/>
                </a:lnTo>
                <a:lnTo>
                  <a:pt x="5467" y="968"/>
                </a:lnTo>
                <a:lnTo>
                  <a:pt x="5404" y="1054"/>
                </a:lnTo>
                <a:lnTo>
                  <a:pt x="5341" y="1138"/>
                </a:lnTo>
                <a:lnTo>
                  <a:pt x="5277" y="1224"/>
                </a:lnTo>
                <a:lnTo>
                  <a:pt x="5214" y="1306"/>
                </a:lnTo>
                <a:lnTo>
                  <a:pt x="5149" y="1389"/>
                </a:lnTo>
                <a:lnTo>
                  <a:pt x="5133" y="1410"/>
                </a:lnTo>
                <a:lnTo>
                  <a:pt x="5116" y="1429"/>
                </a:lnTo>
                <a:lnTo>
                  <a:pt x="5100" y="1448"/>
                </a:lnTo>
                <a:lnTo>
                  <a:pt x="5083" y="1466"/>
                </a:lnTo>
                <a:lnTo>
                  <a:pt x="5067" y="1483"/>
                </a:lnTo>
                <a:lnTo>
                  <a:pt x="5050" y="1500"/>
                </a:lnTo>
                <a:lnTo>
                  <a:pt x="5032" y="1517"/>
                </a:lnTo>
                <a:lnTo>
                  <a:pt x="5014" y="1533"/>
                </a:lnTo>
                <a:lnTo>
                  <a:pt x="4997" y="1548"/>
                </a:lnTo>
                <a:lnTo>
                  <a:pt x="4978" y="1562"/>
                </a:lnTo>
                <a:lnTo>
                  <a:pt x="4960" y="1576"/>
                </a:lnTo>
                <a:lnTo>
                  <a:pt x="4942" y="1590"/>
                </a:lnTo>
                <a:lnTo>
                  <a:pt x="4923" y="1602"/>
                </a:lnTo>
                <a:lnTo>
                  <a:pt x="4904" y="1613"/>
                </a:lnTo>
                <a:lnTo>
                  <a:pt x="4886" y="1625"/>
                </a:lnTo>
                <a:lnTo>
                  <a:pt x="4866" y="1636"/>
                </a:lnTo>
                <a:lnTo>
                  <a:pt x="4847" y="1646"/>
                </a:lnTo>
                <a:lnTo>
                  <a:pt x="4827" y="1655"/>
                </a:lnTo>
                <a:lnTo>
                  <a:pt x="4807" y="1664"/>
                </a:lnTo>
                <a:lnTo>
                  <a:pt x="4787" y="1673"/>
                </a:lnTo>
                <a:lnTo>
                  <a:pt x="4767" y="1680"/>
                </a:lnTo>
                <a:lnTo>
                  <a:pt x="4746" y="1687"/>
                </a:lnTo>
                <a:lnTo>
                  <a:pt x="4726" y="1693"/>
                </a:lnTo>
                <a:lnTo>
                  <a:pt x="4705" y="1699"/>
                </a:lnTo>
                <a:lnTo>
                  <a:pt x="4685" y="1704"/>
                </a:lnTo>
                <a:lnTo>
                  <a:pt x="4664" y="1708"/>
                </a:lnTo>
                <a:lnTo>
                  <a:pt x="4643" y="1711"/>
                </a:lnTo>
                <a:lnTo>
                  <a:pt x="4622" y="1715"/>
                </a:lnTo>
                <a:lnTo>
                  <a:pt x="4601" y="1717"/>
                </a:lnTo>
                <a:lnTo>
                  <a:pt x="4579" y="1719"/>
                </a:lnTo>
                <a:lnTo>
                  <a:pt x="4558" y="1720"/>
                </a:lnTo>
                <a:lnTo>
                  <a:pt x="4536" y="1720"/>
                </a:lnTo>
                <a:lnTo>
                  <a:pt x="4505" y="1719"/>
                </a:lnTo>
                <a:lnTo>
                  <a:pt x="4475" y="1717"/>
                </a:lnTo>
                <a:lnTo>
                  <a:pt x="4443" y="1714"/>
                </a:lnTo>
                <a:lnTo>
                  <a:pt x="4413" y="1709"/>
                </a:lnTo>
                <a:lnTo>
                  <a:pt x="4383" y="1703"/>
                </a:lnTo>
                <a:lnTo>
                  <a:pt x="4353" y="1695"/>
                </a:lnTo>
                <a:lnTo>
                  <a:pt x="4322" y="1687"/>
                </a:lnTo>
                <a:lnTo>
                  <a:pt x="4292" y="1676"/>
                </a:lnTo>
                <a:lnTo>
                  <a:pt x="4260" y="1663"/>
                </a:lnTo>
                <a:lnTo>
                  <a:pt x="4227" y="1649"/>
                </a:lnTo>
                <a:lnTo>
                  <a:pt x="4195" y="1634"/>
                </a:lnTo>
                <a:lnTo>
                  <a:pt x="4163" y="1617"/>
                </a:lnTo>
                <a:lnTo>
                  <a:pt x="4131" y="1598"/>
                </a:lnTo>
                <a:lnTo>
                  <a:pt x="4101" y="1578"/>
                </a:lnTo>
                <a:lnTo>
                  <a:pt x="4070" y="1556"/>
                </a:lnTo>
                <a:lnTo>
                  <a:pt x="4040" y="1534"/>
                </a:lnTo>
                <a:lnTo>
                  <a:pt x="4011" y="1510"/>
                </a:lnTo>
                <a:lnTo>
                  <a:pt x="3981" y="1484"/>
                </a:lnTo>
                <a:lnTo>
                  <a:pt x="3953" y="1457"/>
                </a:lnTo>
                <a:lnTo>
                  <a:pt x="3925" y="1428"/>
                </a:lnTo>
                <a:lnTo>
                  <a:pt x="3898" y="1399"/>
                </a:lnTo>
                <a:lnTo>
                  <a:pt x="3871" y="1368"/>
                </a:lnTo>
                <a:lnTo>
                  <a:pt x="3846" y="1336"/>
                </a:lnTo>
                <a:lnTo>
                  <a:pt x="3820" y="1302"/>
                </a:lnTo>
                <a:lnTo>
                  <a:pt x="3755" y="1213"/>
                </a:lnTo>
                <a:lnTo>
                  <a:pt x="3689" y="1127"/>
                </a:lnTo>
                <a:lnTo>
                  <a:pt x="3623" y="1044"/>
                </a:lnTo>
                <a:lnTo>
                  <a:pt x="3559" y="963"/>
                </a:lnTo>
                <a:lnTo>
                  <a:pt x="3494" y="886"/>
                </a:lnTo>
                <a:lnTo>
                  <a:pt x="3430" y="813"/>
                </a:lnTo>
                <a:lnTo>
                  <a:pt x="3368" y="743"/>
                </a:lnTo>
                <a:lnTo>
                  <a:pt x="3307" y="679"/>
                </a:lnTo>
                <a:lnTo>
                  <a:pt x="3249" y="619"/>
                </a:lnTo>
                <a:lnTo>
                  <a:pt x="3192" y="563"/>
                </a:lnTo>
                <a:lnTo>
                  <a:pt x="3165" y="538"/>
                </a:lnTo>
                <a:lnTo>
                  <a:pt x="3138" y="514"/>
                </a:lnTo>
                <a:lnTo>
                  <a:pt x="3112" y="491"/>
                </a:lnTo>
                <a:lnTo>
                  <a:pt x="3086" y="470"/>
                </a:lnTo>
                <a:lnTo>
                  <a:pt x="3062" y="450"/>
                </a:lnTo>
                <a:lnTo>
                  <a:pt x="3039" y="432"/>
                </a:lnTo>
                <a:lnTo>
                  <a:pt x="3016" y="416"/>
                </a:lnTo>
                <a:lnTo>
                  <a:pt x="2993" y="401"/>
                </a:lnTo>
                <a:lnTo>
                  <a:pt x="2973" y="387"/>
                </a:lnTo>
                <a:lnTo>
                  <a:pt x="2952" y="375"/>
                </a:lnTo>
                <a:lnTo>
                  <a:pt x="2934" y="365"/>
                </a:lnTo>
                <a:lnTo>
                  <a:pt x="2916" y="356"/>
                </a:lnTo>
                <a:lnTo>
                  <a:pt x="2885" y="346"/>
                </a:lnTo>
                <a:lnTo>
                  <a:pt x="2856" y="336"/>
                </a:lnTo>
                <a:lnTo>
                  <a:pt x="2825" y="327"/>
                </a:lnTo>
                <a:lnTo>
                  <a:pt x="2794" y="321"/>
                </a:lnTo>
                <a:lnTo>
                  <a:pt x="2762" y="316"/>
                </a:lnTo>
                <a:lnTo>
                  <a:pt x="2731" y="311"/>
                </a:lnTo>
                <a:lnTo>
                  <a:pt x="2699" y="309"/>
                </a:lnTo>
                <a:lnTo>
                  <a:pt x="2666" y="309"/>
                </a:lnTo>
                <a:lnTo>
                  <a:pt x="2630" y="310"/>
                </a:lnTo>
                <a:lnTo>
                  <a:pt x="2594" y="312"/>
                </a:lnTo>
                <a:lnTo>
                  <a:pt x="2557" y="317"/>
                </a:lnTo>
                <a:lnTo>
                  <a:pt x="2521" y="323"/>
                </a:lnTo>
                <a:lnTo>
                  <a:pt x="2485" y="332"/>
                </a:lnTo>
                <a:lnTo>
                  <a:pt x="2448" y="341"/>
                </a:lnTo>
                <a:lnTo>
                  <a:pt x="2413" y="353"/>
                </a:lnTo>
                <a:lnTo>
                  <a:pt x="2377" y="366"/>
                </a:lnTo>
                <a:lnTo>
                  <a:pt x="2342" y="381"/>
                </a:lnTo>
                <a:lnTo>
                  <a:pt x="2306" y="397"/>
                </a:lnTo>
                <a:lnTo>
                  <a:pt x="2271" y="416"/>
                </a:lnTo>
                <a:lnTo>
                  <a:pt x="2237" y="435"/>
                </a:lnTo>
                <a:lnTo>
                  <a:pt x="2202" y="456"/>
                </a:lnTo>
                <a:lnTo>
                  <a:pt x="2169" y="478"/>
                </a:lnTo>
                <a:lnTo>
                  <a:pt x="2136" y="502"/>
                </a:lnTo>
                <a:lnTo>
                  <a:pt x="2103" y="528"/>
                </a:lnTo>
                <a:lnTo>
                  <a:pt x="2071" y="554"/>
                </a:lnTo>
                <a:lnTo>
                  <a:pt x="2039" y="582"/>
                </a:lnTo>
                <a:lnTo>
                  <a:pt x="2008" y="611"/>
                </a:lnTo>
                <a:lnTo>
                  <a:pt x="1978" y="642"/>
                </a:lnTo>
                <a:lnTo>
                  <a:pt x="1949" y="673"/>
                </a:lnTo>
                <a:lnTo>
                  <a:pt x="1920" y="707"/>
                </a:lnTo>
                <a:lnTo>
                  <a:pt x="1892" y="740"/>
                </a:lnTo>
                <a:lnTo>
                  <a:pt x="1866" y="775"/>
                </a:lnTo>
                <a:lnTo>
                  <a:pt x="1839" y="811"/>
                </a:lnTo>
                <a:lnTo>
                  <a:pt x="1814" y="849"/>
                </a:lnTo>
                <a:lnTo>
                  <a:pt x="1790" y="886"/>
                </a:lnTo>
                <a:lnTo>
                  <a:pt x="1768" y="926"/>
                </a:lnTo>
                <a:lnTo>
                  <a:pt x="1745" y="966"/>
                </a:lnTo>
                <a:lnTo>
                  <a:pt x="1724" y="1007"/>
                </a:lnTo>
                <a:lnTo>
                  <a:pt x="1705" y="1049"/>
                </a:lnTo>
                <a:lnTo>
                  <a:pt x="1687" y="1092"/>
                </a:lnTo>
                <a:lnTo>
                  <a:pt x="1665" y="1147"/>
                </a:lnTo>
                <a:lnTo>
                  <a:pt x="1646" y="1202"/>
                </a:lnTo>
                <a:lnTo>
                  <a:pt x="1630" y="1257"/>
                </a:lnTo>
                <a:lnTo>
                  <a:pt x="1614" y="1312"/>
                </a:lnTo>
                <a:lnTo>
                  <a:pt x="1603" y="1367"/>
                </a:lnTo>
                <a:lnTo>
                  <a:pt x="1593" y="1422"/>
                </a:lnTo>
                <a:lnTo>
                  <a:pt x="1585" y="1476"/>
                </a:lnTo>
                <a:lnTo>
                  <a:pt x="1579" y="1529"/>
                </a:lnTo>
                <a:lnTo>
                  <a:pt x="1576" y="1583"/>
                </a:lnTo>
                <a:lnTo>
                  <a:pt x="1574" y="1636"/>
                </a:lnTo>
                <a:lnTo>
                  <a:pt x="1576" y="1688"/>
                </a:lnTo>
                <a:lnTo>
                  <a:pt x="1578" y="1739"/>
                </a:lnTo>
                <a:lnTo>
                  <a:pt x="1583" y="1790"/>
                </a:lnTo>
                <a:lnTo>
                  <a:pt x="1591" y="1840"/>
                </a:lnTo>
                <a:lnTo>
                  <a:pt x="1599" y="1889"/>
                </a:lnTo>
                <a:lnTo>
                  <a:pt x="1610" y="1937"/>
                </a:lnTo>
                <a:lnTo>
                  <a:pt x="1623" y="1983"/>
                </a:lnTo>
                <a:lnTo>
                  <a:pt x="1638" y="2028"/>
                </a:lnTo>
                <a:lnTo>
                  <a:pt x="1655" y="2072"/>
                </a:lnTo>
                <a:lnTo>
                  <a:pt x="1674" y="2114"/>
                </a:lnTo>
                <a:lnTo>
                  <a:pt x="1694" y="2155"/>
                </a:lnTo>
                <a:lnTo>
                  <a:pt x="1717" y="2194"/>
                </a:lnTo>
                <a:lnTo>
                  <a:pt x="1742" y="2232"/>
                </a:lnTo>
                <a:lnTo>
                  <a:pt x="1768" y="2267"/>
                </a:lnTo>
                <a:lnTo>
                  <a:pt x="1796" y="2302"/>
                </a:lnTo>
                <a:lnTo>
                  <a:pt x="1826" y="2333"/>
                </a:lnTo>
                <a:lnTo>
                  <a:pt x="1857" y="2363"/>
                </a:lnTo>
                <a:lnTo>
                  <a:pt x="1891" y="2390"/>
                </a:lnTo>
                <a:lnTo>
                  <a:pt x="1926" y="2416"/>
                </a:lnTo>
                <a:lnTo>
                  <a:pt x="1963" y="2440"/>
                </a:lnTo>
                <a:lnTo>
                  <a:pt x="2001" y="2460"/>
                </a:lnTo>
                <a:lnTo>
                  <a:pt x="2041" y="2478"/>
                </a:lnTo>
                <a:lnTo>
                  <a:pt x="2051" y="2483"/>
                </a:lnTo>
                <a:lnTo>
                  <a:pt x="2062" y="2487"/>
                </a:lnTo>
                <a:lnTo>
                  <a:pt x="2074" y="2491"/>
                </a:lnTo>
                <a:lnTo>
                  <a:pt x="2086" y="2497"/>
                </a:lnTo>
                <a:lnTo>
                  <a:pt x="2105" y="2505"/>
                </a:lnTo>
                <a:lnTo>
                  <a:pt x="2125" y="2514"/>
                </a:lnTo>
                <a:lnTo>
                  <a:pt x="2146" y="2523"/>
                </a:lnTo>
                <a:lnTo>
                  <a:pt x="2168" y="2532"/>
                </a:lnTo>
                <a:lnTo>
                  <a:pt x="2191" y="2542"/>
                </a:lnTo>
                <a:lnTo>
                  <a:pt x="2214" y="2552"/>
                </a:lnTo>
                <a:lnTo>
                  <a:pt x="2238" y="2562"/>
                </a:lnTo>
                <a:lnTo>
                  <a:pt x="2263" y="2573"/>
                </a:lnTo>
                <a:lnTo>
                  <a:pt x="2295" y="2587"/>
                </a:lnTo>
                <a:lnTo>
                  <a:pt x="2328" y="2601"/>
                </a:lnTo>
                <a:lnTo>
                  <a:pt x="2362" y="2616"/>
                </a:lnTo>
                <a:lnTo>
                  <a:pt x="2397" y="2631"/>
                </a:lnTo>
                <a:lnTo>
                  <a:pt x="2433" y="2648"/>
                </a:lnTo>
                <a:lnTo>
                  <a:pt x="2470" y="2664"/>
                </a:lnTo>
                <a:lnTo>
                  <a:pt x="2508" y="2680"/>
                </a:lnTo>
                <a:lnTo>
                  <a:pt x="2547" y="2696"/>
                </a:lnTo>
                <a:lnTo>
                  <a:pt x="2570" y="2706"/>
                </a:lnTo>
                <a:lnTo>
                  <a:pt x="2594" y="2716"/>
                </a:lnTo>
                <a:lnTo>
                  <a:pt x="2619" y="2726"/>
                </a:lnTo>
                <a:lnTo>
                  <a:pt x="2643" y="2737"/>
                </a:lnTo>
                <a:lnTo>
                  <a:pt x="2667" y="2747"/>
                </a:lnTo>
                <a:lnTo>
                  <a:pt x="2692" y="2757"/>
                </a:lnTo>
                <a:lnTo>
                  <a:pt x="2717" y="2767"/>
                </a:lnTo>
                <a:lnTo>
                  <a:pt x="2743" y="2778"/>
                </a:lnTo>
                <a:lnTo>
                  <a:pt x="2744" y="2778"/>
                </a:lnTo>
                <a:lnTo>
                  <a:pt x="2745" y="2779"/>
                </a:lnTo>
                <a:lnTo>
                  <a:pt x="2745" y="2779"/>
                </a:lnTo>
                <a:lnTo>
                  <a:pt x="2745" y="2779"/>
                </a:lnTo>
                <a:lnTo>
                  <a:pt x="2781" y="2794"/>
                </a:lnTo>
                <a:lnTo>
                  <a:pt x="2814" y="2811"/>
                </a:lnTo>
                <a:lnTo>
                  <a:pt x="2846" y="2830"/>
                </a:lnTo>
                <a:lnTo>
                  <a:pt x="2877" y="2849"/>
                </a:lnTo>
                <a:lnTo>
                  <a:pt x="2905" y="2869"/>
                </a:lnTo>
                <a:lnTo>
                  <a:pt x="2931" y="2891"/>
                </a:lnTo>
                <a:lnTo>
                  <a:pt x="2944" y="2903"/>
                </a:lnTo>
                <a:lnTo>
                  <a:pt x="2955" y="2915"/>
                </a:lnTo>
                <a:lnTo>
                  <a:pt x="2967" y="2926"/>
                </a:lnTo>
                <a:lnTo>
                  <a:pt x="2978" y="2938"/>
                </a:lnTo>
                <a:lnTo>
                  <a:pt x="2989" y="2951"/>
                </a:lnTo>
                <a:lnTo>
                  <a:pt x="2999" y="2964"/>
                </a:lnTo>
                <a:lnTo>
                  <a:pt x="3008" y="2977"/>
                </a:lnTo>
                <a:lnTo>
                  <a:pt x="3017" y="2990"/>
                </a:lnTo>
                <a:lnTo>
                  <a:pt x="3026" y="3004"/>
                </a:lnTo>
                <a:lnTo>
                  <a:pt x="3033" y="3018"/>
                </a:lnTo>
                <a:lnTo>
                  <a:pt x="3041" y="3032"/>
                </a:lnTo>
                <a:lnTo>
                  <a:pt x="3048" y="3046"/>
                </a:lnTo>
                <a:lnTo>
                  <a:pt x="3055" y="3061"/>
                </a:lnTo>
                <a:lnTo>
                  <a:pt x="3061" y="3076"/>
                </a:lnTo>
                <a:lnTo>
                  <a:pt x="3067" y="3091"/>
                </a:lnTo>
                <a:lnTo>
                  <a:pt x="3071" y="3106"/>
                </a:lnTo>
                <a:lnTo>
                  <a:pt x="3075" y="3121"/>
                </a:lnTo>
                <a:lnTo>
                  <a:pt x="3080" y="3138"/>
                </a:lnTo>
                <a:lnTo>
                  <a:pt x="3083" y="3154"/>
                </a:lnTo>
                <a:lnTo>
                  <a:pt x="3085" y="3170"/>
                </a:lnTo>
                <a:lnTo>
                  <a:pt x="3088" y="3191"/>
                </a:lnTo>
                <a:lnTo>
                  <a:pt x="3089" y="3212"/>
                </a:lnTo>
                <a:lnTo>
                  <a:pt x="3090" y="3233"/>
                </a:lnTo>
                <a:lnTo>
                  <a:pt x="3090" y="3256"/>
                </a:lnTo>
                <a:lnTo>
                  <a:pt x="3089" y="3278"/>
                </a:lnTo>
                <a:lnTo>
                  <a:pt x="3087" y="3299"/>
                </a:lnTo>
                <a:lnTo>
                  <a:pt x="3084" y="3321"/>
                </a:lnTo>
                <a:lnTo>
                  <a:pt x="3081" y="3343"/>
                </a:lnTo>
                <a:lnTo>
                  <a:pt x="3075" y="3365"/>
                </a:lnTo>
                <a:lnTo>
                  <a:pt x="3070" y="3387"/>
                </a:lnTo>
                <a:lnTo>
                  <a:pt x="3063" y="3409"/>
                </a:lnTo>
                <a:lnTo>
                  <a:pt x="3056" y="3432"/>
                </a:lnTo>
                <a:lnTo>
                  <a:pt x="3047" y="3454"/>
                </a:lnTo>
                <a:lnTo>
                  <a:pt x="3037" y="3476"/>
                </a:lnTo>
                <a:lnTo>
                  <a:pt x="3028" y="3498"/>
                </a:lnTo>
                <a:lnTo>
                  <a:pt x="3017" y="3520"/>
                </a:lnTo>
                <a:lnTo>
                  <a:pt x="3005" y="3543"/>
                </a:lnTo>
                <a:lnTo>
                  <a:pt x="2992" y="3565"/>
                </a:lnTo>
                <a:lnTo>
                  <a:pt x="2978" y="3587"/>
                </a:lnTo>
                <a:lnTo>
                  <a:pt x="2964" y="3608"/>
                </a:lnTo>
                <a:lnTo>
                  <a:pt x="2948" y="3631"/>
                </a:lnTo>
                <a:lnTo>
                  <a:pt x="2932" y="3652"/>
                </a:lnTo>
                <a:lnTo>
                  <a:pt x="2916" y="3674"/>
                </a:lnTo>
                <a:lnTo>
                  <a:pt x="2897" y="3696"/>
                </a:lnTo>
                <a:lnTo>
                  <a:pt x="2879" y="3717"/>
                </a:lnTo>
                <a:lnTo>
                  <a:pt x="2859" y="3739"/>
                </a:lnTo>
                <a:lnTo>
                  <a:pt x="2839" y="3760"/>
                </a:lnTo>
                <a:lnTo>
                  <a:pt x="2817" y="3781"/>
                </a:lnTo>
                <a:lnTo>
                  <a:pt x="2796" y="3801"/>
                </a:lnTo>
                <a:lnTo>
                  <a:pt x="2773" y="3823"/>
                </a:lnTo>
                <a:lnTo>
                  <a:pt x="2749" y="3843"/>
                </a:lnTo>
                <a:lnTo>
                  <a:pt x="2726" y="3863"/>
                </a:lnTo>
                <a:lnTo>
                  <a:pt x="2621" y="3948"/>
                </a:lnTo>
                <a:lnTo>
                  <a:pt x="2516" y="4031"/>
                </a:lnTo>
                <a:lnTo>
                  <a:pt x="2412" y="4113"/>
                </a:lnTo>
                <a:lnTo>
                  <a:pt x="2305" y="4195"/>
                </a:lnTo>
                <a:lnTo>
                  <a:pt x="2198" y="4276"/>
                </a:lnTo>
                <a:lnTo>
                  <a:pt x="2090" y="4356"/>
                </a:lnTo>
                <a:lnTo>
                  <a:pt x="1982" y="4434"/>
                </a:lnTo>
                <a:lnTo>
                  <a:pt x="1873" y="4513"/>
                </a:lnTo>
                <a:lnTo>
                  <a:pt x="1763" y="4590"/>
                </a:lnTo>
                <a:lnTo>
                  <a:pt x="1653" y="4666"/>
                </a:lnTo>
                <a:lnTo>
                  <a:pt x="1543" y="4741"/>
                </a:lnTo>
                <a:lnTo>
                  <a:pt x="1432" y="4815"/>
                </a:lnTo>
                <a:lnTo>
                  <a:pt x="1320" y="4888"/>
                </a:lnTo>
                <a:lnTo>
                  <a:pt x="1208" y="4960"/>
                </a:lnTo>
                <a:lnTo>
                  <a:pt x="1094" y="5031"/>
                </a:lnTo>
                <a:lnTo>
                  <a:pt x="982" y="5101"/>
                </a:lnTo>
                <a:lnTo>
                  <a:pt x="897" y="5149"/>
                </a:lnTo>
                <a:lnTo>
                  <a:pt x="0" y="5682"/>
                </a:lnTo>
                <a:lnTo>
                  <a:pt x="148" y="5824"/>
                </a:lnTo>
                <a:lnTo>
                  <a:pt x="299" y="5964"/>
                </a:lnTo>
                <a:lnTo>
                  <a:pt x="455" y="6099"/>
                </a:lnTo>
                <a:lnTo>
                  <a:pt x="612" y="6231"/>
                </a:lnTo>
                <a:lnTo>
                  <a:pt x="773" y="6358"/>
                </a:lnTo>
                <a:lnTo>
                  <a:pt x="937" y="6483"/>
                </a:lnTo>
                <a:lnTo>
                  <a:pt x="1104" y="6604"/>
                </a:lnTo>
                <a:lnTo>
                  <a:pt x="1273" y="6720"/>
                </a:lnTo>
                <a:lnTo>
                  <a:pt x="1446" y="6832"/>
                </a:lnTo>
                <a:lnTo>
                  <a:pt x="1622" y="6941"/>
                </a:lnTo>
                <a:lnTo>
                  <a:pt x="1801" y="7045"/>
                </a:lnTo>
                <a:lnTo>
                  <a:pt x="1982" y="7146"/>
                </a:lnTo>
                <a:lnTo>
                  <a:pt x="2166" y="7241"/>
                </a:lnTo>
                <a:lnTo>
                  <a:pt x="2352" y="7333"/>
                </a:lnTo>
                <a:lnTo>
                  <a:pt x="2541" y="7420"/>
                </a:lnTo>
                <a:lnTo>
                  <a:pt x="2732" y="7503"/>
                </a:lnTo>
                <a:lnTo>
                  <a:pt x="2925" y="7582"/>
                </a:lnTo>
                <a:lnTo>
                  <a:pt x="3122" y="7655"/>
                </a:lnTo>
                <a:lnTo>
                  <a:pt x="3319" y="7725"/>
                </a:lnTo>
                <a:lnTo>
                  <a:pt x="3520" y="7789"/>
                </a:lnTo>
                <a:lnTo>
                  <a:pt x="3723" y="7849"/>
                </a:lnTo>
                <a:lnTo>
                  <a:pt x="3926" y="7904"/>
                </a:lnTo>
                <a:lnTo>
                  <a:pt x="4132" y="7953"/>
                </a:lnTo>
                <a:lnTo>
                  <a:pt x="4342" y="7999"/>
                </a:lnTo>
                <a:lnTo>
                  <a:pt x="4551" y="8039"/>
                </a:lnTo>
                <a:lnTo>
                  <a:pt x="4764" y="8073"/>
                </a:lnTo>
                <a:lnTo>
                  <a:pt x="4977" y="8103"/>
                </a:lnTo>
                <a:lnTo>
                  <a:pt x="5192" y="8127"/>
                </a:lnTo>
                <a:lnTo>
                  <a:pt x="5409" y="8146"/>
                </a:lnTo>
                <a:lnTo>
                  <a:pt x="5627" y="8160"/>
                </a:lnTo>
                <a:lnTo>
                  <a:pt x="5847" y="8168"/>
                </a:lnTo>
                <a:lnTo>
                  <a:pt x="6068" y="8171"/>
                </a:lnTo>
                <a:lnTo>
                  <a:pt x="6273" y="8169"/>
                </a:lnTo>
                <a:lnTo>
                  <a:pt x="6476" y="8161"/>
                </a:lnTo>
                <a:lnTo>
                  <a:pt x="6679" y="8149"/>
                </a:lnTo>
                <a:lnTo>
                  <a:pt x="6879" y="8133"/>
                </a:lnTo>
                <a:lnTo>
                  <a:pt x="7079" y="8113"/>
                </a:lnTo>
                <a:lnTo>
                  <a:pt x="7277" y="8087"/>
                </a:lnTo>
                <a:lnTo>
                  <a:pt x="7474" y="8057"/>
                </a:lnTo>
                <a:lnTo>
                  <a:pt x="7670" y="8022"/>
                </a:lnTo>
                <a:lnTo>
                  <a:pt x="7863" y="7985"/>
                </a:lnTo>
                <a:lnTo>
                  <a:pt x="8055" y="7942"/>
                </a:lnTo>
                <a:lnTo>
                  <a:pt x="8246" y="7894"/>
                </a:lnTo>
                <a:lnTo>
                  <a:pt x="8435" y="7842"/>
                </a:lnTo>
                <a:lnTo>
                  <a:pt x="8623" y="7788"/>
                </a:lnTo>
                <a:lnTo>
                  <a:pt x="8808" y="7727"/>
                </a:lnTo>
                <a:lnTo>
                  <a:pt x="8992" y="7664"/>
                </a:lnTo>
                <a:lnTo>
                  <a:pt x="9173" y="7596"/>
                </a:lnTo>
                <a:lnTo>
                  <a:pt x="9352" y="7525"/>
                </a:lnTo>
                <a:lnTo>
                  <a:pt x="9530" y="7449"/>
                </a:lnTo>
                <a:lnTo>
                  <a:pt x="9706" y="7370"/>
                </a:lnTo>
                <a:lnTo>
                  <a:pt x="9880" y="7287"/>
                </a:lnTo>
                <a:lnTo>
                  <a:pt x="10050" y="7201"/>
                </a:lnTo>
                <a:lnTo>
                  <a:pt x="10220" y="7110"/>
                </a:lnTo>
                <a:lnTo>
                  <a:pt x="10387" y="7016"/>
                </a:lnTo>
                <a:lnTo>
                  <a:pt x="10551" y="6918"/>
                </a:lnTo>
                <a:lnTo>
                  <a:pt x="10714" y="6817"/>
                </a:lnTo>
                <a:lnTo>
                  <a:pt x="10873" y="6713"/>
                </a:lnTo>
                <a:lnTo>
                  <a:pt x="11030" y="6605"/>
                </a:lnTo>
                <a:lnTo>
                  <a:pt x="11185" y="6493"/>
                </a:lnTo>
                <a:lnTo>
                  <a:pt x="11337" y="6379"/>
                </a:lnTo>
                <a:lnTo>
                  <a:pt x="11486" y="6261"/>
                </a:lnTo>
                <a:lnTo>
                  <a:pt x="11633" y="6140"/>
                </a:lnTo>
                <a:lnTo>
                  <a:pt x="11777" y="6016"/>
                </a:lnTo>
                <a:lnTo>
                  <a:pt x="11169" y="5071"/>
                </a:lnTo>
                <a:lnTo>
                  <a:pt x="11100" y="4959"/>
                </a:lnTo>
                <a:lnTo>
                  <a:pt x="11029" y="4847"/>
                </a:lnTo>
                <a:lnTo>
                  <a:pt x="10957" y="4736"/>
                </a:lnTo>
                <a:lnTo>
                  <a:pt x="10885" y="4625"/>
                </a:lnTo>
                <a:lnTo>
                  <a:pt x="10811" y="4515"/>
                </a:lnTo>
                <a:lnTo>
                  <a:pt x="10736" y="4406"/>
                </a:lnTo>
                <a:lnTo>
                  <a:pt x="10661" y="4298"/>
                </a:lnTo>
                <a:lnTo>
                  <a:pt x="10585" y="4189"/>
                </a:lnTo>
                <a:lnTo>
                  <a:pt x="10508" y="4081"/>
                </a:lnTo>
                <a:lnTo>
                  <a:pt x="10429" y="3975"/>
                </a:lnTo>
                <a:lnTo>
                  <a:pt x="10350" y="3869"/>
                </a:lnTo>
                <a:lnTo>
                  <a:pt x="10270" y="3763"/>
                </a:lnTo>
                <a:lnTo>
                  <a:pt x="10189" y="3659"/>
                </a:lnTo>
                <a:lnTo>
                  <a:pt x="10107" y="3554"/>
                </a:lnTo>
                <a:lnTo>
                  <a:pt x="10025" y="3451"/>
                </a:lnTo>
                <a:lnTo>
                  <a:pt x="9942" y="3349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194771" tIns="97385" rIns="194771" bIns="97385" numCol="1" anchor="t" anchorCtr="0" compatLnSpc="1">
            <a:prstTxWarp prst="textNoShape">
              <a:avLst/>
            </a:prstTxWarp>
          </a:bodyPr>
          <a:lstStyle/>
          <a:p>
            <a:endParaRPr lang="en-US" sz="3835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B0674-3C1A-5A3F-192F-277EBEB0D72B}"/>
              </a:ext>
            </a:extLst>
          </p:cNvPr>
          <p:cNvSpPr txBox="1">
            <a:spLocks/>
          </p:cNvSpPr>
          <p:nvPr/>
        </p:nvSpPr>
        <p:spPr>
          <a:xfrm>
            <a:off x="717180" y="1517109"/>
            <a:ext cx="361193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67"/>
              </a:spcBef>
              <a:spcAft>
                <a:spcPts val="267"/>
              </a:spcAft>
            </a:pPr>
            <a:r>
              <a:rPr lang="en-US" sz="1600" dirty="0"/>
              <a:t>Insert Text Her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4710CBC-8237-BB9E-D7BB-8CF44CCD680C}"/>
              </a:ext>
            </a:extLst>
          </p:cNvPr>
          <p:cNvSpPr txBox="1">
            <a:spLocks/>
          </p:cNvSpPr>
          <p:nvPr/>
        </p:nvSpPr>
        <p:spPr>
          <a:xfrm>
            <a:off x="717180" y="4011142"/>
            <a:ext cx="361193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67"/>
              </a:spcBef>
              <a:spcAft>
                <a:spcPts val="267"/>
              </a:spcAft>
            </a:pPr>
            <a:r>
              <a:rPr lang="en-US" sz="1600"/>
              <a:t>Insert Text Here</a:t>
            </a:r>
            <a:endParaRPr lang="en-US" sz="16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D931990-F91A-169A-2A88-1F5125492EDA}"/>
              </a:ext>
            </a:extLst>
          </p:cNvPr>
          <p:cNvSpPr txBox="1">
            <a:spLocks/>
          </p:cNvSpPr>
          <p:nvPr/>
        </p:nvSpPr>
        <p:spPr>
          <a:xfrm>
            <a:off x="8059925" y="1517109"/>
            <a:ext cx="33811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67"/>
              </a:spcBef>
              <a:spcAft>
                <a:spcPts val="267"/>
              </a:spcAft>
            </a:pPr>
            <a:r>
              <a:rPr lang="en-US" sz="1600"/>
              <a:t>Insert Text Here</a:t>
            </a:r>
            <a:endParaRPr lang="en-US" sz="16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AB5CF82-D32C-8805-58FD-5C84A2BC1A77}"/>
              </a:ext>
            </a:extLst>
          </p:cNvPr>
          <p:cNvSpPr txBox="1">
            <a:spLocks/>
          </p:cNvSpPr>
          <p:nvPr/>
        </p:nvSpPr>
        <p:spPr>
          <a:xfrm>
            <a:off x="8059925" y="4011142"/>
            <a:ext cx="33811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67"/>
              </a:spcBef>
              <a:spcAft>
                <a:spcPts val="267"/>
              </a:spcAft>
            </a:pPr>
            <a:r>
              <a:rPr lang="en-US" sz="1600"/>
              <a:t>Insert Text Here</a:t>
            </a:r>
            <a:endParaRPr lang="en-US" sz="1600" dirty="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E23E2C87-DD45-C380-A1DE-F29076AD014F}"/>
              </a:ext>
            </a:extLst>
          </p:cNvPr>
          <p:cNvSpPr/>
          <p:nvPr/>
        </p:nvSpPr>
        <p:spPr>
          <a:xfrm>
            <a:off x="4395589" y="2234690"/>
            <a:ext cx="496859" cy="496859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IN" sz="2400" b="1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8CEB97EC-2DB6-A001-6696-26D59B9DF6ED}"/>
              </a:ext>
            </a:extLst>
          </p:cNvPr>
          <p:cNvSpPr/>
          <p:nvPr/>
        </p:nvSpPr>
        <p:spPr>
          <a:xfrm>
            <a:off x="7185213" y="2234690"/>
            <a:ext cx="496859" cy="496859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IN" sz="2400" b="1" dirty="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EA560935-3D73-D59D-F94A-5F5CC181896B}"/>
              </a:ext>
            </a:extLst>
          </p:cNvPr>
          <p:cNvSpPr/>
          <p:nvPr/>
        </p:nvSpPr>
        <p:spPr>
          <a:xfrm>
            <a:off x="4395589" y="4774791"/>
            <a:ext cx="496859" cy="496859"/>
          </a:xfrm>
          <a:prstGeom prst="ellipse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IN" sz="2400" b="1" dirty="0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5BAACFCC-10BC-AC49-C341-318478676325}"/>
              </a:ext>
            </a:extLst>
          </p:cNvPr>
          <p:cNvSpPr/>
          <p:nvPr/>
        </p:nvSpPr>
        <p:spPr>
          <a:xfrm>
            <a:off x="7185213" y="4774791"/>
            <a:ext cx="496859" cy="496859"/>
          </a:xfrm>
          <a:prstGeom prst="ellipse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IN" sz="2400" b="1" dirty="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4C30A7BC-AC12-B056-0653-58C6551681B5}"/>
              </a:ext>
            </a:extLst>
          </p:cNvPr>
          <p:cNvSpPr/>
          <p:nvPr/>
        </p:nvSpPr>
        <p:spPr>
          <a:xfrm>
            <a:off x="4472604" y="2368215"/>
            <a:ext cx="342829" cy="229808"/>
          </a:xfrm>
          <a:custGeom>
            <a:avLst/>
            <a:gdLst/>
            <a:ahLst/>
            <a:cxnLst/>
            <a:rect l="0" t="0" r="0" b="0"/>
            <a:pathLst>
              <a:path w="866775" h="581025">
                <a:moveTo>
                  <a:pt x="674846" y="197644"/>
                </a:moveTo>
                <a:cubicBezTo>
                  <a:pt x="779621" y="197644"/>
                  <a:pt x="864394" y="283369"/>
                  <a:pt x="864394" y="388144"/>
                </a:cubicBezTo>
                <a:cubicBezTo>
                  <a:pt x="864394" y="492919"/>
                  <a:pt x="778669" y="578644"/>
                  <a:pt x="673894" y="578644"/>
                </a:cubicBezTo>
                <a:cubicBezTo>
                  <a:pt x="569119" y="578644"/>
                  <a:pt x="483394" y="492919"/>
                  <a:pt x="483394" y="388144"/>
                </a:cubicBezTo>
                <a:cubicBezTo>
                  <a:pt x="483394" y="177641"/>
                  <a:pt x="653891" y="7144"/>
                  <a:pt x="864394" y="7144"/>
                </a:cubicBezTo>
                <a:cubicBezTo>
                  <a:pt x="864394" y="7144"/>
                  <a:pt x="739616" y="53816"/>
                  <a:pt x="674846" y="197644"/>
                </a:cubicBezTo>
                <a:close/>
                <a:moveTo>
                  <a:pt x="388144" y="388144"/>
                </a:moveTo>
                <a:cubicBezTo>
                  <a:pt x="388144" y="492919"/>
                  <a:pt x="302419" y="578644"/>
                  <a:pt x="197644" y="578644"/>
                </a:cubicBezTo>
                <a:cubicBezTo>
                  <a:pt x="92869" y="578644"/>
                  <a:pt x="7144" y="492919"/>
                  <a:pt x="7144" y="388144"/>
                </a:cubicBezTo>
                <a:lnTo>
                  <a:pt x="7144" y="388144"/>
                </a:lnTo>
                <a:cubicBezTo>
                  <a:pt x="7144" y="177641"/>
                  <a:pt x="177641" y="7144"/>
                  <a:pt x="388144" y="7144"/>
                </a:cubicBezTo>
                <a:cubicBezTo>
                  <a:pt x="388144" y="7144"/>
                  <a:pt x="263366" y="53816"/>
                  <a:pt x="198596" y="197644"/>
                </a:cubicBezTo>
                <a:cubicBezTo>
                  <a:pt x="303371" y="197644"/>
                  <a:pt x="388144" y="283369"/>
                  <a:pt x="388144" y="388144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i="1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4618FA2D-A1B0-28A1-EEF0-AACB9F7D6C2C}"/>
              </a:ext>
            </a:extLst>
          </p:cNvPr>
          <p:cNvSpPr/>
          <p:nvPr/>
        </p:nvSpPr>
        <p:spPr>
          <a:xfrm>
            <a:off x="7262228" y="2368215"/>
            <a:ext cx="342829" cy="229808"/>
          </a:xfrm>
          <a:custGeom>
            <a:avLst/>
            <a:gdLst/>
            <a:ahLst/>
            <a:cxnLst/>
            <a:rect l="0" t="0" r="0" b="0"/>
            <a:pathLst>
              <a:path w="866775" h="581025">
                <a:moveTo>
                  <a:pt x="674846" y="197644"/>
                </a:moveTo>
                <a:cubicBezTo>
                  <a:pt x="779621" y="197644"/>
                  <a:pt x="864394" y="283369"/>
                  <a:pt x="864394" y="388144"/>
                </a:cubicBezTo>
                <a:cubicBezTo>
                  <a:pt x="864394" y="492919"/>
                  <a:pt x="778669" y="578644"/>
                  <a:pt x="673894" y="578644"/>
                </a:cubicBezTo>
                <a:cubicBezTo>
                  <a:pt x="569119" y="578644"/>
                  <a:pt x="483394" y="492919"/>
                  <a:pt x="483394" y="388144"/>
                </a:cubicBezTo>
                <a:cubicBezTo>
                  <a:pt x="483394" y="177641"/>
                  <a:pt x="653891" y="7144"/>
                  <a:pt x="864394" y="7144"/>
                </a:cubicBezTo>
                <a:cubicBezTo>
                  <a:pt x="864394" y="7144"/>
                  <a:pt x="739616" y="53816"/>
                  <a:pt x="674846" y="197644"/>
                </a:cubicBezTo>
                <a:close/>
                <a:moveTo>
                  <a:pt x="388144" y="388144"/>
                </a:moveTo>
                <a:cubicBezTo>
                  <a:pt x="388144" y="492919"/>
                  <a:pt x="302419" y="578644"/>
                  <a:pt x="197644" y="578644"/>
                </a:cubicBezTo>
                <a:cubicBezTo>
                  <a:pt x="92869" y="578644"/>
                  <a:pt x="7144" y="492919"/>
                  <a:pt x="7144" y="388144"/>
                </a:cubicBezTo>
                <a:lnTo>
                  <a:pt x="7144" y="388144"/>
                </a:lnTo>
                <a:cubicBezTo>
                  <a:pt x="7144" y="177641"/>
                  <a:pt x="177641" y="7144"/>
                  <a:pt x="388144" y="7144"/>
                </a:cubicBezTo>
                <a:cubicBezTo>
                  <a:pt x="388144" y="7144"/>
                  <a:pt x="263366" y="53816"/>
                  <a:pt x="198596" y="197644"/>
                </a:cubicBezTo>
                <a:cubicBezTo>
                  <a:pt x="303371" y="197644"/>
                  <a:pt x="388144" y="283369"/>
                  <a:pt x="388144" y="388144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i="1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3F20570A-3B49-12DF-3313-B9EE24296508}"/>
              </a:ext>
            </a:extLst>
          </p:cNvPr>
          <p:cNvSpPr/>
          <p:nvPr/>
        </p:nvSpPr>
        <p:spPr>
          <a:xfrm>
            <a:off x="4472604" y="4908316"/>
            <a:ext cx="342829" cy="229808"/>
          </a:xfrm>
          <a:custGeom>
            <a:avLst/>
            <a:gdLst/>
            <a:ahLst/>
            <a:cxnLst/>
            <a:rect l="0" t="0" r="0" b="0"/>
            <a:pathLst>
              <a:path w="866775" h="581025">
                <a:moveTo>
                  <a:pt x="674846" y="197644"/>
                </a:moveTo>
                <a:cubicBezTo>
                  <a:pt x="779621" y="197644"/>
                  <a:pt x="864394" y="283369"/>
                  <a:pt x="864394" y="388144"/>
                </a:cubicBezTo>
                <a:cubicBezTo>
                  <a:pt x="864394" y="492919"/>
                  <a:pt x="778669" y="578644"/>
                  <a:pt x="673894" y="578644"/>
                </a:cubicBezTo>
                <a:cubicBezTo>
                  <a:pt x="569119" y="578644"/>
                  <a:pt x="483394" y="492919"/>
                  <a:pt x="483394" y="388144"/>
                </a:cubicBezTo>
                <a:cubicBezTo>
                  <a:pt x="483394" y="177641"/>
                  <a:pt x="653891" y="7144"/>
                  <a:pt x="864394" y="7144"/>
                </a:cubicBezTo>
                <a:cubicBezTo>
                  <a:pt x="864394" y="7144"/>
                  <a:pt x="739616" y="53816"/>
                  <a:pt x="674846" y="197644"/>
                </a:cubicBezTo>
                <a:close/>
                <a:moveTo>
                  <a:pt x="388144" y="388144"/>
                </a:moveTo>
                <a:cubicBezTo>
                  <a:pt x="388144" y="492919"/>
                  <a:pt x="302419" y="578644"/>
                  <a:pt x="197644" y="578644"/>
                </a:cubicBezTo>
                <a:cubicBezTo>
                  <a:pt x="92869" y="578644"/>
                  <a:pt x="7144" y="492919"/>
                  <a:pt x="7144" y="388144"/>
                </a:cubicBezTo>
                <a:lnTo>
                  <a:pt x="7144" y="388144"/>
                </a:lnTo>
                <a:cubicBezTo>
                  <a:pt x="7144" y="177641"/>
                  <a:pt x="177641" y="7144"/>
                  <a:pt x="388144" y="7144"/>
                </a:cubicBezTo>
                <a:cubicBezTo>
                  <a:pt x="388144" y="7144"/>
                  <a:pt x="263366" y="53816"/>
                  <a:pt x="198596" y="197644"/>
                </a:cubicBezTo>
                <a:cubicBezTo>
                  <a:pt x="303371" y="197644"/>
                  <a:pt x="388144" y="283369"/>
                  <a:pt x="388144" y="388144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i="1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21BA66EB-ED65-B3D2-2CC0-7FB7410742B6}"/>
              </a:ext>
            </a:extLst>
          </p:cNvPr>
          <p:cNvSpPr/>
          <p:nvPr/>
        </p:nvSpPr>
        <p:spPr>
          <a:xfrm>
            <a:off x="7262228" y="4908316"/>
            <a:ext cx="342829" cy="229808"/>
          </a:xfrm>
          <a:custGeom>
            <a:avLst/>
            <a:gdLst/>
            <a:ahLst/>
            <a:cxnLst/>
            <a:rect l="0" t="0" r="0" b="0"/>
            <a:pathLst>
              <a:path w="866775" h="581025">
                <a:moveTo>
                  <a:pt x="674846" y="197644"/>
                </a:moveTo>
                <a:cubicBezTo>
                  <a:pt x="779621" y="197644"/>
                  <a:pt x="864394" y="283369"/>
                  <a:pt x="864394" y="388144"/>
                </a:cubicBezTo>
                <a:cubicBezTo>
                  <a:pt x="864394" y="492919"/>
                  <a:pt x="778669" y="578644"/>
                  <a:pt x="673894" y="578644"/>
                </a:cubicBezTo>
                <a:cubicBezTo>
                  <a:pt x="569119" y="578644"/>
                  <a:pt x="483394" y="492919"/>
                  <a:pt x="483394" y="388144"/>
                </a:cubicBezTo>
                <a:cubicBezTo>
                  <a:pt x="483394" y="177641"/>
                  <a:pt x="653891" y="7144"/>
                  <a:pt x="864394" y="7144"/>
                </a:cubicBezTo>
                <a:cubicBezTo>
                  <a:pt x="864394" y="7144"/>
                  <a:pt x="739616" y="53816"/>
                  <a:pt x="674846" y="197644"/>
                </a:cubicBezTo>
                <a:close/>
                <a:moveTo>
                  <a:pt x="388144" y="388144"/>
                </a:moveTo>
                <a:cubicBezTo>
                  <a:pt x="388144" y="492919"/>
                  <a:pt x="302419" y="578644"/>
                  <a:pt x="197644" y="578644"/>
                </a:cubicBezTo>
                <a:cubicBezTo>
                  <a:pt x="92869" y="578644"/>
                  <a:pt x="7144" y="492919"/>
                  <a:pt x="7144" y="388144"/>
                </a:cubicBezTo>
                <a:lnTo>
                  <a:pt x="7144" y="388144"/>
                </a:lnTo>
                <a:cubicBezTo>
                  <a:pt x="7144" y="177641"/>
                  <a:pt x="177641" y="7144"/>
                  <a:pt x="388144" y="7144"/>
                </a:cubicBezTo>
                <a:cubicBezTo>
                  <a:pt x="388144" y="7144"/>
                  <a:pt x="263366" y="53816"/>
                  <a:pt x="198596" y="197644"/>
                </a:cubicBezTo>
                <a:cubicBezTo>
                  <a:pt x="303371" y="197644"/>
                  <a:pt x="388144" y="283369"/>
                  <a:pt x="388144" y="388144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i="1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18575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40</TotalTime>
  <Words>14</Words>
  <Application>Microsoft Office PowerPoint</Application>
  <PresentationFormat>Widescreen</PresentationFormat>
  <Paragraphs>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Quot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454</cp:revision>
  <dcterms:created xsi:type="dcterms:W3CDTF">2021-03-31T02:49:57Z</dcterms:created>
  <dcterms:modified xsi:type="dcterms:W3CDTF">2025-10-16T11:05:07Z</dcterms:modified>
  <cp:category/>
</cp:coreProperties>
</file>